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1"/>
  </p:sldMasterIdLst>
  <p:notesMasterIdLst>
    <p:notesMasterId r:id="rId12"/>
  </p:notesMasterIdLst>
  <p:sldIdLst>
    <p:sldId id="256" r:id="rId2"/>
    <p:sldId id="2085" r:id="rId3"/>
    <p:sldId id="2168" r:id="rId4"/>
    <p:sldId id="2158" r:id="rId5"/>
    <p:sldId id="2160" r:id="rId6"/>
    <p:sldId id="2161" r:id="rId7"/>
    <p:sldId id="2162" r:id="rId8"/>
    <p:sldId id="2163" r:id="rId9"/>
    <p:sldId id="2164" r:id="rId10"/>
    <p:sldId id="2165" r:id="rId11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21" autoAdjust="0"/>
    <p:restoredTop sz="94660"/>
  </p:normalViewPr>
  <p:slideViewPr>
    <p:cSldViewPr snapToGrid="0">
      <p:cViewPr varScale="1">
        <p:scale>
          <a:sx n="72" d="100"/>
          <a:sy n="72" d="100"/>
        </p:scale>
        <p:origin x="804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1657F85-9847-4489-8B50-5784606507C9}" type="doc">
      <dgm:prSet loTypeId="urn:microsoft.com/office/officeart/2005/8/layout/process5" loCatId="process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B48FCE8-C718-465A-BE63-B6B44E1FCA8D}">
      <dgm:prSet phldrT="[Text]" custT="1"/>
      <dgm:spPr>
        <a:gradFill rotWithShape="0">
          <a:gsLst>
            <a:gs pos="0">
              <a:schemeClr val="tx1">
                <a:lumMod val="20000"/>
                <a:lumOff val="8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</a:gradFill>
      </dgm:spPr>
      <dgm:t>
        <a:bodyPr/>
        <a:lstStyle/>
        <a:p>
          <a:r>
            <a:rPr lang="en-US" sz="1400" b="1" i="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rPr>
            <a:t>Feb 2012</a:t>
          </a:r>
          <a:r>
            <a:rPr lang="en-US" sz="1200" b="1" i="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rPr>
            <a:t>:</a:t>
          </a:r>
        </a:p>
        <a:p>
          <a:r>
            <a:rPr lang="en-US" sz="1200" b="1" i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rPr>
            <a:t> Research Data Stewardship at UNC</a:t>
          </a:r>
        </a:p>
      </dgm:t>
    </dgm:pt>
    <dgm:pt modelId="{7BF599B9-06B0-4228-8E34-063BB05A5D92}" type="parTrans" cxnId="{C8926497-2EA8-4EED-8EB6-772F97FFB1AF}">
      <dgm:prSet/>
      <dgm:spPr/>
      <dgm:t>
        <a:bodyPr/>
        <a:lstStyle/>
        <a:p>
          <a:endParaRPr lang="en-US"/>
        </a:p>
      </dgm:t>
    </dgm:pt>
    <dgm:pt modelId="{A090CE7C-0AC2-4906-8FEB-C1C04B649561}" type="sibTrans" cxnId="{C8926497-2EA8-4EED-8EB6-772F97FFB1AF}">
      <dgm:prSet/>
      <dgm:spPr>
        <a:solidFill>
          <a:srgbClr val="0070C0"/>
        </a:solidFill>
        <a:ln>
          <a:solidFill>
            <a:srgbClr val="000000"/>
          </a:solidFill>
        </a:ln>
      </dgm:spPr>
      <dgm:t>
        <a:bodyPr/>
        <a:lstStyle/>
        <a:p>
          <a:endParaRPr lang="en-US"/>
        </a:p>
      </dgm:t>
    </dgm:pt>
    <dgm:pt modelId="{D51AA14E-0089-469C-940E-1695965DCE3B}">
      <dgm:prSet phldrT="[Text]" custT="1"/>
      <dgm:spPr/>
      <dgm:t>
        <a:bodyPr/>
        <a:lstStyle/>
        <a:p>
          <a:r>
            <a:rPr lang="en-US" sz="1400" b="1" i="0">
              <a:solidFill>
                <a:srgbClr val="C00000"/>
              </a:solidFill>
              <a:latin typeface="Arial" panose="020B0604020202020204" pitchFamily="34" charset="0"/>
            </a:rPr>
            <a:t>Apr 2014:</a:t>
          </a:r>
          <a:endParaRPr lang="en-US" sz="1200" b="1" i="0">
            <a:solidFill>
              <a:srgbClr val="C00000"/>
            </a:solidFill>
            <a:latin typeface="Arial" panose="020B0604020202020204" pitchFamily="34" charset="0"/>
          </a:endParaRPr>
        </a:p>
        <a:p>
          <a:r>
            <a:rPr lang="en-US" sz="1200" b="1" i="0">
              <a:solidFill>
                <a:schemeClr val="accent2"/>
              </a:solidFill>
              <a:latin typeface="Arial" panose="020B0604020202020204" pitchFamily="34" charset="0"/>
            </a:rPr>
            <a:t>Faculty Working Group on Data Studies Curriculum</a:t>
          </a:r>
        </a:p>
      </dgm:t>
    </dgm:pt>
    <dgm:pt modelId="{F42CEE19-CF59-4891-884C-C8393E2ECCB7}" type="parTrans" cxnId="{AEFBA576-B5B4-4D90-AC68-FCFA4D3E6446}">
      <dgm:prSet/>
      <dgm:spPr/>
      <dgm:t>
        <a:bodyPr/>
        <a:lstStyle/>
        <a:p>
          <a:endParaRPr lang="en-US"/>
        </a:p>
      </dgm:t>
    </dgm:pt>
    <dgm:pt modelId="{BD8F56B4-BE47-42FD-B4DF-52D82F614568}" type="sibTrans" cxnId="{AEFBA576-B5B4-4D90-AC68-FCFA4D3E6446}">
      <dgm:prSet/>
      <dgm:spPr>
        <a:solidFill>
          <a:srgbClr val="0070C0"/>
        </a:solidFill>
        <a:ln>
          <a:solidFill>
            <a:srgbClr val="000000"/>
          </a:solidFill>
        </a:ln>
      </dgm:spPr>
      <dgm:t>
        <a:bodyPr/>
        <a:lstStyle/>
        <a:p>
          <a:endParaRPr lang="en-US"/>
        </a:p>
      </dgm:t>
    </dgm:pt>
    <dgm:pt modelId="{4EF5EFE8-ABD1-4B7E-9216-1956E52582B3}">
      <dgm:prSet phldrT="[Text]" custT="1"/>
      <dgm:spPr/>
      <dgm:t>
        <a:bodyPr/>
        <a:lstStyle/>
        <a:p>
          <a:r>
            <a:rPr lang="en-US" sz="1400" b="1" i="0">
              <a:solidFill>
                <a:srgbClr val="C00000"/>
              </a:solidFill>
              <a:latin typeface="Arial" panose="020B0604020202020204" pitchFamily="34" charset="0"/>
            </a:rPr>
            <a:t>May 2014:</a:t>
          </a:r>
          <a:endParaRPr lang="en-US" sz="1200" b="1" i="0">
            <a:solidFill>
              <a:srgbClr val="C00000"/>
            </a:solidFill>
            <a:latin typeface="Arial" panose="020B0604020202020204" pitchFamily="34" charset="0"/>
          </a:endParaRPr>
        </a:p>
        <a:p>
          <a:r>
            <a:rPr lang="en-US" sz="1200" b="1" i="0">
              <a:solidFill>
                <a:schemeClr val="accent2"/>
              </a:solidFill>
              <a:latin typeface="Arial" panose="020B0604020202020204" pitchFamily="34" charset="0"/>
            </a:rPr>
            <a:t>Genomic Data Stewardship Taskforce</a:t>
          </a:r>
        </a:p>
      </dgm:t>
    </dgm:pt>
    <dgm:pt modelId="{2EB3244A-9F6A-4A25-876C-4238B22285D0}" type="parTrans" cxnId="{F601DF19-B729-4243-B44F-362DBB123D6C}">
      <dgm:prSet/>
      <dgm:spPr/>
      <dgm:t>
        <a:bodyPr/>
        <a:lstStyle/>
        <a:p>
          <a:endParaRPr lang="en-US"/>
        </a:p>
      </dgm:t>
    </dgm:pt>
    <dgm:pt modelId="{C57A9154-5C63-4467-ABCE-817A91A9EFA0}" type="sibTrans" cxnId="{F601DF19-B729-4243-B44F-362DBB123D6C}">
      <dgm:prSet/>
      <dgm:spPr>
        <a:solidFill>
          <a:srgbClr val="0070C0"/>
        </a:solidFill>
        <a:ln>
          <a:solidFill>
            <a:srgbClr val="000000"/>
          </a:solidFill>
        </a:ln>
      </dgm:spPr>
      <dgm:t>
        <a:bodyPr/>
        <a:lstStyle/>
        <a:p>
          <a:endParaRPr lang="en-US"/>
        </a:p>
      </dgm:t>
    </dgm:pt>
    <dgm:pt modelId="{47E602A8-AF73-47EF-BD0C-3D09AF170A15}">
      <dgm:prSet phldrT="[Text]" custT="1"/>
      <dgm:spPr/>
      <dgm:t>
        <a:bodyPr/>
        <a:lstStyle/>
        <a:p>
          <a:r>
            <a:rPr lang="en-US" sz="1400" b="1" i="0">
              <a:solidFill>
                <a:srgbClr val="C00000"/>
              </a:solidFill>
              <a:latin typeface="Arial" panose="020B0604020202020204" pitchFamily="34" charset="0"/>
            </a:rPr>
            <a:t>Aug 2015:</a:t>
          </a:r>
        </a:p>
        <a:p>
          <a:r>
            <a:rPr lang="en-US" sz="1200" b="1" i="0" err="1">
              <a:solidFill>
                <a:schemeClr val="accent2"/>
              </a:solidFill>
              <a:latin typeface="Arial" panose="020B0604020202020204" pitchFamily="34" charset="0"/>
            </a:rPr>
            <a:t>Data@Carolina</a:t>
          </a:r>
          <a:r>
            <a:rPr lang="en-US" sz="1200" b="1" i="0">
              <a:solidFill>
                <a:schemeClr val="accent2"/>
              </a:solidFill>
              <a:latin typeface="Arial" panose="020B0604020202020204" pitchFamily="34" charset="0"/>
            </a:rPr>
            <a:t> Initiative</a:t>
          </a:r>
        </a:p>
      </dgm:t>
    </dgm:pt>
    <dgm:pt modelId="{D8EC246C-A0EF-4767-A36F-58BEC8AF55EB}" type="parTrans" cxnId="{731DDDC9-AF3B-4824-9D0F-DF59C4792C25}">
      <dgm:prSet/>
      <dgm:spPr/>
      <dgm:t>
        <a:bodyPr/>
        <a:lstStyle/>
        <a:p>
          <a:endParaRPr lang="en-US"/>
        </a:p>
      </dgm:t>
    </dgm:pt>
    <dgm:pt modelId="{11212E20-3219-454C-A6F4-14411D14C98D}" type="sibTrans" cxnId="{731DDDC9-AF3B-4824-9D0F-DF59C4792C25}">
      <dgm:prSet/>
      <dgm:spPr>
        <a:solidFill>
          <a:srgbClr val="0070C0"/>
        </a:solidFill>
        <a:ln>
          <a:solidFill>
            <a:srgbClr val="000000"/>
          </a:solidFill>
        </a:ln>
      </dgm:spPr>
      <dgm:t>
        <a:bodyPr/>
        <a:lstStyle/>
        <a:p>
          <a:endParaRPr lang="en-US"/>
        </a:p>
      </dgm:t>
    </dgm:pt>
    <dgm:pt modelId="{93DFCB7C-70B1-4A03-AF1B-F9C8C02A0307}">
      <dgm:prSet phldrT="[Text]" custT="1"/>
      <dgm:spPr/>
      <dgm:t>
        <a:bodyPr/>
        <a:lstStyle/>
        <a:p>
          <a:r>
            <a:rPr lang="en-US" sz="1400" b="1" i="0">
              <a:solidFill>
                <a:srgbClr val="C00000"/>
              </a:solidFill>
              <a:latin typeface="Arial" panose="020B0604020202020204" pitchFamily="34" charset="0"/>
            </a:rPr>
            <a:t>Nov 2017:</a:t>
          </a:r>
        </a:p>
        <a:p>
          <a:r>
            <a:rPr lang="en-US" sz="1200" b="1" i="0">
              <a:solidFill>
                <a:schemeClr val="accent2"/>
              </a:solidFill>
              <a:latin typeface="Arial" panose="020B0604020202020204" pitchFamily="34" charset="0"/>
            </a:rPr>
            <a:t>Data Science Initiative</a:t>
          </a:r>
        </a:p>
      </dgm:t>
    </dgm:pt>
    <dgm:pt modelId="{EE4742B0-EE38-4390-987B-E8058B78A245}" type="parTrans" cxnId="{B143DE2D-05CE-4F68-8B2B-1B1D352121B9}">
      <dgm:prSet/>
      <dgm:spPr/>
      <dgm:t>
        <a:bodyPr/>
        <a:lstStyle/>
        <a:p>
          <a:endParaRPr lang="en-US"/>
        </a:p>
      </dgm:t>
    </dgm:pt>
    <dgm:pt modelId="{1B8B5CE9-7BA2-46F7-90F8-482249612AB5}" type="sibTrans" cxnId="{B143DE2D-05CE-4F68-8B2B-1B1D352121B9}">
      <dgm:prSet/>
      <dgm:spPr>
        <a:solidFill>
          <a:srgbClr val="0070C0"/>
        </a:solidFill>
        <a:ln>
          <a:solidFill>
            <a:srgbClr val="000000"/>
          </a:solidFill>
        </a:ln>
      </dgm:spPr>
      <dgm:t>
        <a:bodyPr/>
        <a:lstStyle/>
        <a:p>
          <a:endParaRPr lang="en-US"/>
        </a:p>
      </dgm:t>
    </dgm:pt>
    <dgm:pt modelId="{2D58503A-D809-4AB4-9A8A-924A7D9CF522}">
      <dgm:prSet phldrT="[Text]" custT="1"/>
      <dgm:spPr/>
      <dgm:t>
        <a:bodyPr/>
        <a:lstStyle/>
        <a:p>
          <a:r>
            <a:rPr lang="en-US" sz="1400" b="1" i="0">
              <a:solidFill>
                <a:srgbClr val="C00000"/>
              </a:solidFill>
              <a:latin typeface="Arial" panose="020B0604020202020204" pitchFamily="34" charset="0"/>
            </a:rPr>
            <a:t>Apr 2018:</a:t>
          </a:r>
          <a:r>
            <a:rPr lang="en-US" sz="1200" b="1" i="0">
              <a:solidFill>
                <a:schemeClr val="accent2"/>
              </a:solidFill>
              <a:latin typeface="Arial" panose="020B0604020202020204" pitchFamily="34" charset="0"/>
            </a:rPr>
            <a:t> </a:t>
          </a:r>
        </a:p>
        <a:p>
          <a:r>
            <a:rPr lang="en-US" sz="1200" b="1" i="0">
              <a:solidFill>
                <a:schemeClr val="accent2"/>
              </a:solidFill>
              <a:latin typeface="Arial" panose="020B0604020202020204" pitchFamily="34" charset="0"/>
            </a:rPr>
            <a:t>Data Science Institute</a:t>
          </a:r>
        </a:p>
      </dgm:t>
    </dgm:pt>
    <dgm:pt modelId="{08E0F4A7-DFE7-47CE-AA05-5D7B2AE0E480}" type="parTrans" cxnId="{318CF35F-84AC-4D99-A28B-705B2DB8E8F8}">
      <dgm:prSet/>
      <dgm:spPr/>
      <dgm:t>
        <a:bodyPr/>
        <a:lstStyle/>
        <a:p>
          <a:endParaRPr lang="en-US"/>
        </a:p>
      </dgm:t>
    </dgm:pt>
    <dgm:pt modelId="{97EA00E3-975A-437B-99DF-452B573089D4}" type="sibTrans" cxnId="{318CF35F-84AC-4D99-A28B-705B2DB8E8F8}">
      <dgm:prSet/>
      <dgm:spPr>
        <a:solidFill>
          <a:srgbClr val="0070C0"/>
        </a:solidFill>
        <a:ln>
          <a:solidFill>
            <a:srgbClr val="000000"/>
          </a:solidFill>
        </a:ln>
      </dgm:spPr>
      <dgm:t>
        <a:bodyPr/>
        <a:lstStyle/>
        <a:p>
          <a:endParaRPr lang="en-US"/>
        </a:p>
      </dgm:t>
    </dgm:pt>
    <dgm:pt modelId="{88BA9C80-A9D7-4D1D-A0C1-DD4E581AC2A0}">
      <dgm:prSet phldrT="[Text]" custT="1"/>
      <dgm:spPr/>
      <dgm:t>
        <a:bodyPr/>
        <a:lstStyle/>
        <a:p>
          <a:r>
            <a:rPr lang="en-US" sz="1400" b="1" i="0">
              <a:solidFill>
                <a:srgbClr val="C00000"/>
              </a:solidFill>
              <a:latin typeface="Arial" panose="020B0604020202020204" pitchFamily="34" charset="0"/>
            </a:rPr>
            <a:t>Mar 2019:</a:t>
          </a:r>
          <a:endParaRPr lang="en-US" sz="1200" b="1" i="0">
            <a:solidFill>
              <a:srgbClr val="C00000"/>
            </a:solidFill>
            <a:latin typeface="Arial" panose="020B0604020202020204" pitchFamily="34" charset="0"/>
          </a:endParaRPr>
        </a:p>
        <a:p>
          <a:r>
            <a:rPr lang="en-US" sz="1200" b="1" i="0">
              <a:solidFill>
                <a:schemeClr val="accent2"/>
              </a:solidFill>
              <a:latin typeface="Arial" panose="020B0604020202020204" pitchFamily="34" charset="0"/>
            </a:rPr>
            <a:t>Data Science School</a:t>
          </a:r>
        </a:p>
      </dgm:t>
    </dgm:pt>
    <dgm:pt modelId="{3529758B-5B5C-4C7F-BC6E-EFB7C93F2CA3}" type="parTrans" cxnId="{8C02779A-C24E-486A-9A96-6C1B78177178}">
      <dgm:prSet/>
      <dgm:spPr/>
      <dgm:t>
        <a:bodyPr/>
        <a:lstStyle/>
        <a:p>
          <a:endParaRPr lang="en-US"/>
        </a:p>
      </dgm:t>
    </dgm:pt>
    <dgm:pt modelId="{33F78191-570A-461E-8C89-ACE9EB3ACD49}" type="sibTrans" cxnId="{8C02779A-C24E-486A-9A96-6C1B78177178}">
      <dgm:prSet/>
      <dgm:spPr>
        <a:solidFill>
          <a:srgbClr val="0070C0"/>
        </a:solidFill>
        <a:ln>
          <a:solidFill>
            <a:srgbClr val="000000"/>
          </a:solidFill>
        </a:ln>
      </dgm:spPr>
      <dgm:t>
        <a:bodyPr/>
        <a:lstStyle/>
        <a:p>
          <a:endParaRPr lang="en-US"/>
        </a:p>
      </dgm:t>
    </dgm:pt>
    <dgm:pt modelId="{998EBF56-55A9-4C4E-965F-700AF5D7DF18}">
      <dgm:prSet phldrT="[Text]" custT="1"/>
      <dgm:spPr/>
      <dgm:t>
        <a:bodyPr/>
        <a:lstStyle/>
        <a:p>
          <a:r>
            <a:rPr lang="en-US" sz="1400" b="1" i="0">
              <a:solidFill>
                <a:srgbClr val="C00000"/>
              </a:solidFill>
              <a:latin typeface="Arial" panose="020B0604020202020204" pitchFamily="34" charset="0"/>
            </a:rPr>
            <a:t>Feb 2020:</a:t>
          </a:r>
          <a:endParaRPr lang="en-US" sz="1200" b="1" i="0">
            <a:solidFill>
              <a:srgbClr val="C00000"/>
            </a:solidFill>
            <a:latin typeface="Arial" panose="020B0604020202020204" pitchFamily="34" charset="0"/>
          </a:endParaRPr>
        </a:p>
        <a:p>
          <a:r>
            <a:rPr lang="en-US" sz="1000" b="1" i="0">
              <a:solidFill>
                <a:schemeClr val="accent2"/>
              </a:solidFill>
              <a:latin typeface="Arial" panose="020B0604020202020204" pitchFamily="34" charset="0"/>
            </a:rPr>
            <a:t>Draft Feasibility Plan for Implementation of School of Data Information and Society (SDIS)</a:t>
          </a:r>
        </a:p>
      </dgm:t>
    </dgm:pt>
    <dgm:pt modelId="{557DEB6B-A842-4EE2-9D5D-752C8A147F72}" type="parTrans" cxnId="{174D1716-C706-444D-86E2-919507A438A2}">
      <dgm:prSet/>
      <dgm:spPr/>
      <dgm:t>
        <a:bodyPr/>
        <a:lstStyle/>
        <a:p>
          <a:endParaRPr lang="en-US"/>
        </a:p>
      </dgm:t>
    </dgm:pt>
    <dgm:pt modelId="{EB0218E4-3AFC-4928-B3DC-36B418C7AB8F}" type="sibTrans" cxnId="{174D1716-C706-444D-86E2-919507A438A2}">
      <dgm:prSet/>
      <dgm:spPr>
        <a:solidFill>
          <a:srgbClr val="0070C0"/>
        </a:solidFill>
        <a:ln>
          <a:solidFill>
            <a:srgbClr val="000000"/>
          </a:solidFill>
        </a:ln>
      </dgm:spPr>
      <dgm:t>
        <a:bodyPr/>
        <a:lstStyle/>
        <a:p>
          <a:endParaRPr lang="en-US"/>
        </a:p>
      </dgm:t>
    </dgm:pt>
    <dgm:pt modelId="{16834912-D002-4062-AF4F-40CFC4A5189E}">
      <dgm:prSet phldrT="[Text]" custT="1"/>
      <dgm:spPr/>
      <dgm:t>
        <a:bodyPr/>
        <a:lstStyle/>
        <a:p>
          <a:r>
            <a:rPr lang="fr-FR" sz="1400" b="1" i="0" dirty="0" err="1">
              <a:solidFill>
                <a:srgbClr val="C00000"/>
              </a:solidFill>
              <a:latin typeface="Arial" panose="020B0604020202020204" pitchFamily="34" charset="0"/>
            </a:rPr>
            <a:t>Dec</a:t>
          </a:r>
          <a:r>
            <a:rPr lang="fr-FR" sz="1400" b="1" i="0" dirty="0">
              <a:solidFill>
                <a:srgbClr val="C00000"/>
              </a:solidFill>
              <a:latin typeface="Arial" panose="020B0604020202020204" pitchFamily="34" charset="0"/>
            </a:rPr>
            <a:t> 2020:</a:t>
          </a:r>
          <a:endParaRPr lang="fr-FR" sz="1200" b="1" i="0" dirty="0">
            <a:solidFill>
              <a:srgbClr val="C00000"/>
            </a:solidFill>
            <a:latin typeface="Arial" panose="020B0604020202020204" pitchFamily="34" charset="0"/>
          </a:endParaRPr>
        </a:p>
        <a:p>
          <a:r>
            <a:rPr lang="fr-FR" sz="1200" b="1" i="0" dirty="0">
              <a:solidFill>
                <a:schemeClr val="accent2"/>
              </a:solidFill>
              <a:latin typeface="Arial" panose="020B0604020202020204" pitchFamily="34" charset="0"/>
            </a:rPr>
            <a:t>SDIS Phase II Pre‐</a:t>
          </a:r>
          <a:r>
            <a:rPr lang="fr-FR" sz="1200" b="1" i="0" dirty="0" err="1">
              <a:solidFill>
                <a:schemeClr val="accent2"/>
              </a:solidFill>
              <a:latin typeface="Arial" panose="020B0604020202020204" pitchFamily="34" charset="0"/>
            </a:rPr>
            <a:t>Implementation</a:t>
          </a:r>
          <a:endParaRPr lang="en-US" sz="1200" b="1" i="0" dirty="0">
            <a:solidFill>
              <a:schemeClr val="accent2"/>
            </a:solidFill>
            <a:latin typeface="Arial" panose="020B0604020202020204" pitchFamily="34" charset="0"/>
          </a:endParaRPr>
        </a:p>
      </dgm:t>
    </dgm:pt>
    <dgm:pt modelId="{EEAE537F-09FD-4237-BBFE-438D24C7236C}" type="parTrans" cxnId="{7A7F2867-A801-4C5E-A560-37C785B4E55D}">
      <dgm:prSet/>
      <dgm:spPr/>
      <dgm:t>
        <a:bodyPr/>
        <a:lstStyle/>
        <a:p>
          <a:endParaRPr lang="en-US"/>
        </a:p>
      </dgm:t>
    </dgm:pt>
    <dgm:pt modelId="{840185F9-34CF-4837-844B-D01B15AB8D24}" type="sibTrans" cxnId="{7A7F2867-A801-4C5E-A560-37C785B4E55D}">
      <dgm:prSet/>
      <dgm:spPr>
        <a:solidFill>
          <a:srgbClr val="0070C0"/>
        </a:solidFill>
        <a:ln>
          <a:solidFill>
            <a:srgbClr val="000000"/>
          </a:solidFill>
        </a:ln>
      </dgm:spPr>
      <dgm:t>
        <a:bodyPr/>
        <a:lstStyle/>
        <a:p>
          <a:endParaRPr lang="en-US"/>
        </a:p>
      </dgm:t>
    </dgm:pt>
    <dgm:pt modelId="{6BCB8D2F-B6BA-40A6-90FC-EC38D476E162}">
      <dgm:prSet phldrT="[Text]" custT="1"/>
      <dgm:spPr/>
      <dgm:t>
        <a:bodyPr/>
        <a:lstStyle/>
        <a:p>
          <a:r>
            <a:rPr lang="en-US" sz="1400" b="1" i="0">
              <a:solidFill>
                <a:srgbClr val="C00000"/>
              </a:solidFill>
              <a:latin typeface="Arial" panose="020B0604020202020204" pitchFamily="34" charset="0"/>
            </a:rPr>
            <a:t>Mar 2020:</a:t>
          </a:r>
        </a:p>
        <a:p>
          <a:r>
            <a:rPr lang="en-US" sz="1000" b="1" i="0">
              <a:solidFill>
                <a:schemeClr val="accent2"/>
              </a:solidFill>
              <a:latin typeface="Arial" panose="020B0604020202020204" pitchFamily="34" charset="0"/>
            </a:rPr>
            <a:t>UNC-CH </a:t>
          </a:r>
          <a:r>
            <a:rPr lang="en-US" sz="1000" b="1" i="0" err="1">
              <a:solidFill>
                <a:schemeClr val="accent2"/>
              </a:solidFill>
              <a:latin typeface="Arial" panose="020B0604020202020204" pitchFamily="34" charset="0"/>
            </a:rPr>
            <a:t>BoT</a:t>
          </a:r>
          <a:r>
            <a:rPr lang="en-US" sz="1000" b="1" i="0">
              <a:solidFill>
                <a:schemeClr val="accent2"/>
              </a:solidFill>
              <a:latin typeface="Arial" panose="020B0604020202020204" pitchFamily="34" charset="0"/>
            </a:rPr>
            <a:t> endorses plan to launch a new School for Data Science</a:t>
          </a:r>
        </a:p>
      </dgm:t>
    </dgm:pt>
    <dgm:pt modelId="{2E243E66-F8C5-4B7B-9495-626FFE817CA8}" type="parTrans" cxnId="{2BB2FCE1-7062-4712-B384-8715EFAB157C}">
      <dgm:prSet/>
      <dgm:spPr/>
      <dgm:t>
        <a:bodyPr/>
        <a:lstStyle/>
        <a:p>
          <a:endParaRPr lang="en-US"/>
        </a:p>
      </dgm:t>
    </dgm:pt>
    <dgm:pt modelId="{5AA37AF4-DCDF-4F64-9698-8F2D9E246AB6}" type="sibTrans" cxnId="{2BB2FCE1-7062-4712-B384-8715EFAB157C}">
      <dgm:prSet/>
      <dgm:spPr>
        <a:solidFill>
          <a:srgbClr val="0070C0"/>
        </a:solidFill>
        <a:ln>
          <a:solidFill>
            <a:srgbClr val="000000"/>
          </a:solidFill>
        </a:ln>
      </dgm:spPr>
      <dgm:t>
        <a:bodyPr/>
        <a:lstStyle/>
        <a:p>
          <a:endParaRPr lang="en-US"/>
        </a:p>
      </dgm:t>
    </dgm:pt>
    <dgm:pt modelId="{54C289E7-1E0E-4FAD-A520-F563A4950FC3}">
      <dgm:prSet phldrT="[Text]" custT="1"/>
      <dgm:spPr/>
      <dgm:t>
        <a:bodyPr/>
        <a:lstStyle/>
        <a:p>
          <a:r>
            <a:rPr lang="en-US" sz="1400" b="1" i="0" dirty="0">
              <a:solidFill>
                <a:srgbClr val="C00000"/>
              </a:solidFill>
              <a:latin typeface="Arial" panose="020B0604020202020204" pitchFamily="34" charset="0"/>
            </a:rPr>
            <a:t>2021 &amp; 2022: </a:t>
          </a:r>
        </a:p>
        <a:p>
          <a:r>
            <a:rPr lang="en-US" sz="1200" b="1" i="0" dirty="0">
              <a:solidFill>
                <a:schemeClr val="accent2"/>
              </a:solidFill>
              <a:latin typeface="Arial" panose="020B0604020202020204" pitchFamily="34" charset="0"/>
            </a:rPr>
            <a:t>SDSS design and implementation started</a:t>
          </a:r>
        </a:p>
      </dgm:t>
    </dgm:pt>
    <dgm:pt modelId="{DE4B9C33-5961-4984-8660-F96C75D5AD70}" type="parTrans" cxnId="{8BE2A9D3-AFDE-4CBB-88A4-CC7AE7C6F98D}">
      <dgm:prSet/>
      <dgm:spPr/>
      <dgm:t>
        <a:bodyPr/>
        <a:lstStyle/>
        <a:p>
          <a:endParaRPr lang="en-US"/>
        </a:p>
      </dgm:t>
    </dgm:pt>
    <dgm:pt modelId="{05FA958C-027F-4BA9-9BE1-CDA6D3B314EC}" type="sibTrans" cxnId="{8BE2A9D3-AFDE-4CBB-88A4-CC7AE7C6F98D}">
      <dgm:prSet/>
      <dgm:spPr/>
      <dgm:t>
        <a:bodyPr/>
        <a:lstStyle/>
        <a:p>
          <a:endParaRPr lang="en-US"/>
        </a:p>
      </dgm:t>
    </dgm:pt>
    <dgm:pt modelId="{95CDDA95-C1FE-490B-B7E4-9A6747D30327}">
      <dgm:prSet phldrT="[Text]" custT="1"/>
      <dgm:spPr/>
      <dgm:t>
        <a:bodyPr/>
        <a:lstStyle/>
        <a:p>
          <a:r>
            <a:rPr lang="fr-FR" sz="1400" b="1" i="0" dirty="0">
              <a:solidFill>
                <a:srgbClr val="C00000"/>
              </a:solidFill>
              <a:latin typeface="Arial" panose="020B0604020202020204" pitchFamily="34" charset="0"/>
            </a:rPr>
            <a:t>Mar 2021:</a:t>
          </a:r>
        </a:p>
        <a:p>
          <a:r>
            <a:rPr lang="en-US" sz="1000" b="1" i="0" u="none" strike="noStrike" baseline="0" dirty="0">
              <a:solidFill>
                <a:schemeClr val="accent2"/>
              </a:solidFill>
              <a:latin typeface="Arial" panose="020B0604020202020204" pitchFamily="34" charset="0"/>
            </a:rPr>
            <a:t>Draft Plan for Launch and Implementation of a School of Data Science &amp; Society (SDSS)</a:t>
          </a:r>
          <a:endParaRPr lang="en-US" sz="1000" b="1" i="0" dirty="0">
            <a:solidFill>
              <a:schemeClr val="accent2"/>
            </a:solidFill>
            <a:latin typeface="Arial" panose="020B0604020202020204" pitchFamily="34" charset="0"/>
          </a:endParaRPr>
        </a:p>
      </dgm:t>
    </dgm:pt>
    <dgm:pt modelId="{1B5F524E-35F1-4139-AF5D-BD6B562FABDB}" type="parTrans" cxnId="{75D506BB-6CF4-468F-ADA9-36EF90E343BD}">
      <dgm:prSet/>
      <dgm:spPr/>
      <dgm:t>
        <a:bodyPr/>
        <a:lstStyle/>
        <a:p>
          <a:endParaRPr lang="en-US"/>
        </a:p>
      </dgm:t>
    </dgm:pt>
    <dgm:pt modelId="{A48FF087-897C-4859-9A09-9C3A2BF79AEF}" type="sibTrans" cxnId="{75D506BB-6CF4-468F-ADA9-36EF90E343BD}">
      <dgm:prSet/>
      <dgm:spPr>
        <a:solidFill>
          <a:srgbClr val="0070C0"/>
        </a:solidFill>
        <a:ln>
          <a:solidFill>
            <a:srgbClr val="000000"/>
          </a:solidFill>
        </a:ln>
      </dgm:spPr>
      <dgm:t>
        <a:bodyPr/>
        <a:lstStyle/>
        <a:p>
          <a:endParaRPr lang="en-US"/>
        </a:p>
      </dgm:t>
    </dgm:pt>
    <dgm:pt modelId="{D196B0D9-CBBC-4748-8A3B-EDB62ABE59E1}" type="pres">
      <dgm:prSet presAssocID="{B1657F85-9847-4489-8B50-5784606507C9}" presName="diagram" presStyleCnt="0">
        <dgm:presLayoutVars>
          <dgm:dir/>
          <dgm:resizeHandles val="exact"/>
        </dgm:presLayoutVars>
      </dgm:prSet>
      <dgm:spPr/>
    </dgm:pt>
    <dgm:pt modelId="{4AD8F505-6438-4F5D-B0F4-226AC32CC5AE}" type="pres">
      <dgm:prSet presAssocID="{6B48FCE8-C718-465A-BE63-B6B44E1FCA8D}" presName="node" presStyleLbl="node1" presStyleIdx="0" presStyleCnt="12">
        <dgm:presLayoutVars>
          <dgm:bulletEnabled val="1"/>
        </dgm:presLayoutVars>
      </dgm:prSet>
      <dgm:spPr/>
    </dgm:pt>
    <dgm:pt modelId="{CD09D8D2-DC06-4CB4-83F0-019055FE5FBB}" type="pres">
      <dgm:prSet presAssocID="{A090CE7C-0AC2-4906-8FEB-C1C04B649561}" presName="sibTrans" presStyleLbl="sibTrans2D1" presStyleIdx="0" presStyleCnt="11" custLinFactNeighborX="-3519" custLinFactNeighborY="-6543"/>
      <dgm:spPr/>
    </dgm:pt>
    <dgm:pt modelId="{1CFD528B-F3A6-435C-A177-4196DA32E2C0}" type="pres">
      <dgm:prSet presAssocID="{A090CE7C-0AC2-4906-8FEB-C1C04B649561}" presName="connectorText" presStyleLbl="sibTrans2D1" presStyleIdx="0" presStyleCnt="11"/>
      <dgm:spPr/>
    </dgm:pt>
    <dgm:pt modelId="{6607630C-3B71-4F32-A085-0FFE6A802C1B}" type="pres">
      <dgm:prSet presAssocID="{D51AA14E-0089-469C-940E-1695965DCE3B}" presName="node" presStyleLbl="node1" presStyleIdx="1" presStyleCnt="12">
        <dgm:presLayoutVars>
          <dgm:bulletEnabled val="1"/>
        </dgm:presLayoutVars>
      </dgm:prSet>
      <dgm:spPr/>
    </dgm:pt>
    <dgm:pt modelId="{A162B103-1F41-4B68-A94D-1A9B8123F26B}" type="pres">
      <dgm:prSet presAssocID="{BD8F56B4-BE47-42FD-B4DF-52D82F614568}" presName="sibTrans" presStyleLbl="sibTrans2D1" presStyleIdx="1" presStyleCnt="11" custLinFactNeighborX="-3519" custLinFactNeighborY="-6543"/>
      <dgm:spPr/>
    </dgm:pt>
    <dgm:pt modelId="{79493EB3-6E49-4F85-8F22-32C76A608D68}" type="pres">
      <dgm:prSet presAssocID="{BD8F56B4-BE47-42FD-B4DF-52D82F614568}" presName="connectorText" presStyleLbl="sibTrans2D1" presStyleIdx="1" presStyleCnt="11"/>
      <dgm:spPr/>
    </dgm:pt>
    <dgm:pt modelId="{78626198-D045-4D83-A56F-17F1AD8366F8}" type="pres">
      <dgm:prSet presAssocID="{4EF5EFE8-ABD1-4B7E-9216-1956E52582B3}" presName="node" presStyleLbl="node1" presStyleIdx="2" presStyleCnt="12">
        <dgm:presLayoutVars>
          <dgm:bulletEnabled val="1"/>
        </dgm:presLayoutVars>
      </dgm:prSet>
      <dgm:spPr/>
    </dgm:pt>
    <dgm:pt modelId="{F07EC7D5-440B-43E4-AE9A-6CAF92060696}" type="pres">
      <dgm:prSet presAssocID="{C57A9154-5C63-4467-ABCE-817A91A9EFA0}" presName="sibTrans" presStyleLbl="sibTrans2D1" presStyleIdx="2" presStyleCnt="11" custLinFactNeighborX="-3519" custLinFactNeighborY="-6543"/>
      <dgm:spPr/>
    </dgm:pt>
    <dgm:pt modelId="{B59B781A-1A10-4F06-BC78-6A818A2734AF}" type="pres">
      <dgm:prSet presAssocID="{C57A9154-5C63-4467-ABCE-817A91A9EFA0}" presName="connectorText" presStyleLbl="sibTrans2D1" presStyleIdx="2" presStyleCnt="11"/>
      <dgm:spPr/>
    </dgm:pt>
    <dgm:pt modelId="{62EA0B8B-ECB4-4B91-BB61-1B7B0A95537C}" type="pres">
      <dgm:prSet presAssocID="{47E602A8-AF73-47EF-BD0C-3D09AF170A15}" presName="node" presStyleLbl="node1" presStyleIdx="3" presStyleCnt="12">
        <dgm:presLayoutVars>
          <dgm:bulletEnabled val="1"/>
        </dgm:presLayoutVars>
      </dgm:prSet>
      <dgm:spPr/>
    </dgm:pt>
    <dgm:pt modelId="{3C8B5CEC-AD45-4C97-80D9-5CAB7139D5E8}" type="pres">
      <dgm:prSet presAssocID="{11212E20-3219-454C-A6F4-14411D14C98D}" presName="sibTrans" presStyleLbl="sibTrans2D1" presStyleIdx="3" presStyleCnt="11" custLinFactNeighborX="-3519" custLinFactNeighborY="-6543"/>
      <dgm:spPr/>
    </dgm:pt>
    <dgm:pt modelId="{EA1078E9-AE67-4922-9B37-70F8CB62FEDF}" type="pres">
      <dgm:prSet presAssocID="{11212E20-3219-454C-A6F4-14411D14C98D}" presName="connectorText" presStyleLbl="sibTrans2D1" presStyleIdx="3" presStyleCnt="11"/>
      <dgm:spPr/>
    </dgm:pt>
    <dgm:pt modelId="{E41A5ACF-C00C-4401-AC79-BAC82F252D6C}" type="pres">
      <dgm:prSet presAssocID="{93DFCB7C-70B1-4A03-AF1B-F9C8C02A0307}" presName="node" presStyleLbl="node1" presStyleIdx="4" presStyleCnt="12">
        <dgm:presLayoutVars>
          <dgm:bulletEnabled val="1"/>
        </dgm:presLayoutVars>
      </dgm:prSet>
      <dgm:spPr/>
    </dgm:pt>
    <dgm:pt modelId="{2AE41721-AAE0-478E-9951-4704F4752F4B}" type="pres">
      <dgm:prSet presAssocID="{1B8B5CE9-7BA2-46F7-90F8-482249612AB5}" presName="sibTrans" presStyleLbl="sibTrans2D1" presStyleIdx="4" presStyleCnt="11" custLinFactNeighborX="-3519" custLinFactNeighborY="-6543"/>
      <dgm:spPr/>
    </dgm:pt>
    <dgm:pt modelId="{19BC88A5-39DC-44BD-9AEC-F822011D80B1}" type="pres">
      <dgm:prSet presAssocID="{1B8B5CE9-7BA2-46F7-90F8-482249612AB5}" presName="connectorText" presStyleLbl="sibTrans2D1" presStyleIdx="4" presStyleCnt="11"/>
      <dgm:spPr/>
    </dgm:pt>
    <dgm:pt modelId="{D1FAC6B3-EE3A-4806-B467-AC0E5BCBF91D}" type="pres">
      <dgm:prSet presAssocID="{2D58503A-D809-4AB4-9A8A-924A7D9CF522}" presName="node" presStyleLbl="node1" presStyleIdx="5" presStyleCnt="12">
        <dgm:presLayoutVars>
          <dgm:bulletEnabled val="1"/>
        </dgm:presLayoutVars>
      </dgm:prSet>
      <dgm:spPr/>
    </dgm:pt>
    <dgm:pt modelId="{2494B978-8B92-476D-8843-4FCD465B367B}" type="pres">
      <dgm:prSet presAssocID="{97EA00E3-975A-437B-99DF-452B573089D4}" presName="sibTrans" presStyleLbl="sibTrans2D1" presStyleIdx="5" presStyleCnt="11" custLinFactNeighborX="-3519" custLinFactNeighborY="-6543"/>
      <dgm:spPr/>
    </dgm:pt>
    <dgm:pt modelId="{9B2C7133-E255-457D-B026-550F8744BB66}" type="pres">
      <dgm:prSet presAssocID="{97EA00E3-975A-437B-99DF-452B573089D4}" presName="connectorText" presStyleLbl="sibTrans2D1" presStyleIdx="5" presStyleCnt="11"/>
      <dgm:spPr/>
    </dgm:pt>
    <dgm:pt modelId="{74DAD745-7226-4DA6-8B73-0819234FA05A}" type="pres">
      <dgm:prSet presAssocID="{88BA9C80-A9D7-4D1D-A0C1-DD4E581AC2A0}" presName="node" presStyleLbl="node1" presStyleIdx="6" presStyleCnt="12">
        <dgm:presLayoutVars>
          <dgm:bulletEnabled val="1"/>
        </dgm:presLayoutVars>
      </dgm:prSet>
      <dgm:spPr/>
    </dgm:pt>
    <dgm:pt modelId="{C11481A4-418A-4D0A-BF4E-07BF6B309249}" type="pres">
      <dgm:prSet presAssocID="{33F78191-570A-461E-8C89-ACE9EB3ACD49}" presName="sibTrans" presStyleLbl="sibTrans2D1" presStyleIdx="6" presStyleCnt="11"/>
      <dgm:spPr/>
    </dgm:pt>
    <dgm:pt modelId="{AEAFFCA1-521A-4D24-8515-5221B9F4D620}" type="pres">
      <dgm:prSet presAssocID="{33F78191-570A-461E-8C89-ACE9EB3ACD49}" presName="connectorText" presStyleLbl="sibTrans2D1" presStyleIdx="6" presStyleCnt="11"/>
      <dgm:spPr/>
    </dgm:pt>
    <dgm:pt modelId="{FC91FB62-A79F-4735-B5E4-5EA6DC420DD7}" type="pres">
      <dgm:prSet presAssocID="{998EBF56-55A9-4C4E-965F-700AF5D7DF18}" presName="node" presStyleLbl="node1" presStyleIdx="7" presStyleCnt="12">
        <dgm:presLayoutVars>
          <dgm:bulletEnabled val="1"/>
        </dgm:presLayoutVars>
      </dgm:prSet>
      <dgm:spPr/>
    </dgm:pt>
    <dgm:pt modelId="{1CC22E76-8F45-4118-9A10-D0A391D7CDF4}" type="pres">
      <dgm:prSet presAssocID="{EB0218E4-3AFC-4928-B3DC-36B418C7AB8F}" presName="sibTrans" presStyleLbl="sibTrans2D1" presStyleIdx="7" presStyleCnt="11"/>
      <dgm:spPr/>
    </dgm:pt>
    <dgm:pt modelId="{208907CC-FAEA-47D4-BA3F-DACBFD3DB4C5}" type="pres">
      <dgm:prSet presAssocID="{EB0218E4-3AFC-4928-B3DC-36B418C7AB8F}" presName="connectorText" presStyleLbl="sibTrans2D1" presStyleIdx="7" presStyleCnt="11"/>
      <dgm:spPr/>
    </dgm:pt>
    <dgm:pt modelId="{054B5FC3-6E3D-4ABB-9AF4-893F61656B63}" type="pres">
      <dgm:prSet presAssocID="{6BCB8D2F-B6BA-40A6-90FC-EC38D476E162}" presName="node" presStyleLbl="node1" presStyleIdx="8" presStyleCnt="12">
        <dgm:presLayoutVars>
          <dgm:bulletEnabled val="1"/>
        </dgm:presLayoutVars>
      </dgm:prSet>
      <dgm:spPr/>
    </dgm:pt>
    <dgm:pt modelId="{40792985-E5BB-4CF1-BDE2-8DF5B42F5C14}" type="pres">
      <dgm:prSet presAssocID="{5AA37AF4-DCDF-4F64-9698-8F2D9E246AB6}" presName="sibTrans" presStyleLbl="sibTrans2D1" presStyleIdx="8" presStyleCnt="11"/>
      <dgm:spPr/>
    </dgm:pt>
    <dgm:pt modelId="{5578418C-0027-4109-A57E-E70A4E0CDA8D}" type="pres">
      <dgm:prSet presAssocID="{5AA37AF4-DCDF-4F64-9698-8F2D9E246AB6}" presName="connectorText" presStyleLbl="sibTrans2D1" presStyleIdx="8" presStyleCnt="11"/>
      <dgm:spPr/>
    </dgm:pt>
    <dgm:pt modelId="{6F1E35C1-E09C-47B4-8880-05D8B3CF1A48}" type="pres">
      <dgm:prSet presAssocID="{16834912-D002-4062-AF4F-40CFC4A5189E}" presName="node" presStyleLbl="node1" presStyleIdx="9" presStyleCnt="12">
        <dgm:presLayoutVars>
          <dgm:bulletEnabled val="1"/>
        </dgm:presLayoutVars>
      </dgm:prSet>
      <dgm:spPr/>
    </dgm:pt>
    <dgm:pt modelId="{E6660159-855F-46A3-8E45-E80E9793F53C}" type="pres">
      <dgm:prSet presAssocID="{840185F9-34CF-4837-844B-D01B15AB8D24}" presName="sibTrans" presStyleLbl="sibTrans2D1" presStyleIdx="9" presStyleCnt="11"/>
      <dgm:spPr/>
    </dgm:pt>
    <dgm:pt modelId="{8441CDC1-CB08-451B-ACCD-AF5D8B90BB8A}" type="pres">
      <dgm:prSet presAssocID="{840185F9-34CF-4837-844B-D01B15AB8D24}" presName="connectorText" presStyleLbl="sibTrans2D1" presStyleIdx="9" presStyleCnt="11"/>
      <dgm:spPr/>
    </dgm:pt>
    <dgm:pt modelId="{BFC6B883-2DCA-4A48-BBC9-03D306C9B641}" type="pres">
      <dgm:prSet presAssocID="{95CDDA95-C1FE-490B-B7E4-9A6747D30327}" presName="node" presStyleLbl="node1" presStyleIdx="10" presStyleCnt="12">
        <dgm:presLayoutVars>
          <dgm:bulletEnabled val="1"/>
        </dgm:presLayoutVars>
      </dgm:prSet>
      <dgm:spPr/>
    </dgm:pt>
    <dgm:pt modelId="{3C37B4F9-CAEB-4AA7-B711-5545145796AF}" type="pres">
      <dgm:prSet presAssocID="{A48FF087-897C-4859-9A09-9C3A2BF79AEF}" presName="sibTrans" presStyleLbl="sibTrans2D1" presStyleIdx="10" presStyleCnt="11"/>
      <dgm:spPr/>
    </dgm:pt>
    <dgm:pt modelId="{9D297A4E-CCD2-413D-8741-527F0A541B43}" type="pres">
      <dgm:prSet presAssocID="{A48FF087-897C-4859-9A09-9C3A2BF79AEF}" presName="connectorText" presStyleLbl="sibTrans2D1" presStyleIdx="10" presStyleCnt="11"/>
      <dgm:spPr/>
    </dgm:pt>
    <dgm:pt modelId="{61FFB089-7067-4FD4-BA70-81F1D137707F}" type="pres">
      <dgm:prSet presAssocID="{54C289E7-1E0E-4FAD-A520-F563A4950FC3}" presName="node" presStyleLbl="node1" presStyleIdx="11" presStyleCnt="12">
        <dgm:presLayoutVars>
          <dgm:bulletEnabled val="1"/>
        </dgm:presLayoutVars>
      </dgm:prSet>
      <dgm:spPr/>
    </dgm:pt>
  </dgm:ptLst>
  <dgm:cxnLst>
    <dgm:cxn modelId="{EF6C4603-E2D6-4DDC-BA9F-D047BA40DAF8}" type="presOf" srcId="{88BA9C80-A9D7-4D1D-A0C1-DD4E581AC2A0}" destId="{74DAD745-7226-4DA6-8B73-0819234FA05A}" srcOrd="0" destOrd="0" presId="urn:microsoft.com/office/officeart/2005/8/layout/process5"/>
    <dgm:cxn modelId="{F87DB304-3F5D-4AB9-BF1D-DF64179A1897}" type="presOf" srcId="{840185F9-34CF-4837-844B-D01B15AB8D24}" destId="{E6660159-855F-46A3-8E45-E80E9793F53C}" srcOrd="0" destOrd="0" presId="urn:microsoft.com/office/officeart/2005/8/layout/process5"/>
    <dgm:cxn modelId="{3C28A508-B47B-4997-90F9-A0A4D1A73C43}" type="presOf" srcId="{97EA00E3-975A-437B-99DF-452B573089D4}" destId="{2494B978-8B92-476D-8843-4FCD465B367B}" srcOrd="0" destOrd="0" presId="urn:microsoft.com/office/officeart/2005/8/layout/process5"/>
    <dgm:cxn modelId="{FB1DB010-B0C0-4A68-87B1-67FB3D014DBF}" type="presOf" srcId="{EB0218E4-3AFC-4928-B3DC-36B418C7AB8F}" destId="{208907CC-FAEA-47D4-BA3F-DACBFD3DB4C5}" srcOrd="1" destOrd="0" presId="urn:microsoft.com/office/officeart/2005/8/layout/process5"/>
    <dgm:cxn modelId="{174D1716-C706-444D-86E2-919507A438A2}" srcId="{B1657F85-9847-4489-8B50-5784606507C9}" destId="{998EBF56-55A9-4C4E-965F-700AF5D7DF18}" srcOrd="7" destOrd="0" parTransId="{557DEB6B-A842-4EE2-9D5D-752C8A147F72}" sibTransId="{EB0218E4-3AFC-4928-B3DC-36B418C7AB8F}"/>
    <dgm:cxn modelId="{A584CE18-AD06-479E-A833-98BB8E68E5B1}" type="presOf" srcId="{1B8B5CE9-7BA2-46F7-90F8-482249612AB5}" destId="{19BC88A5-39DC-44BD-9AEC-F822011D80B1}" srcOrd="1" destOrd="0" presId="urn:microsoft.com/office/officeart/2005/8/layout/process5"/>
    <dgm:cxn modelId="{F601DF19-B729-4243-B44F-362DBB123D6C}" srcId="{B1657F85-9847-4489-8B50-5784606507C9}" destId="{4EF5EFE8-ABD1-4B7E-9216-1956E52582B3}" srcOrd="2" destOrd="0" parTransId="{2EB3244A-9F6A-4A25-876C-4238B22285D0}" sibTransId="{C57A9154-5C63-4467-ABCE-817A91A9EFA0}"/>
    <dgm:cxn modelId="{1EACB91F-75C2-438F-ACDB-228D44308D68}" type="presOf" srcId="{97EA00E3-975A-437B-99DF-452B573089D4}" destId="{9B2C7133-E255-457D-B026-550F8744BB66}" srcOrd="1" destOrd="0" presId="urn:microsoft.com/office/officeart/2005/8/layout/process5"/>
    <dgm:cxn modelId="{647F0220-CC2B-4D9D-914E-0DA523C7F65B}" type="presOf" srcId="{1B8B5CE9-7BA2-46F7-90F8-482249612AB5}" destId="{2AE41721-AAE0-478E-9951-4704F4752F4B}" srcOrd="0" destOrd="0" presId="urn:microsoft.com/office/officeart/2005/8/layout/process5"/>
    <dgm:cxn modelId="{B143DE2D-05CE-4F68-8B2B-1B1D352121B9}" srcId="{B1657F85-9847-4489-8B50-5784606507C9}" destId="{93DFCB7C-70B1-4A03-AF1B-F9C8C02A0307}" srcOrd="4" destOrd="0" parTransId="{EE4742B0-EE38-4390-987B-E8058B78A245}" sibTransId="{1B8B5CE9-7BA2-46F7-90F8-482249612AB5}"/>
    <dgm:cxn modelId="{FFA9BB2E-6214-4B14-B823-6D624DF001B0}" type="presOf" srcId="{840185F9-34CF-4837-844B-D01B15AB8D24}" destId="{8441CDC1-CB08-451B-ACCD-AF5D8B90BB8A}" srcOrd="1" destOrd="0" presId="urn:microsoft.com/office/officeart/2005/8/layout/process5"/>
    <dgm:cxn modelId="{318CF35F-84AC-4D99-A28B-705B2DB8E8F8}" srcId="{B1657F85-9847-4489-8B50-5784606507C9}" destId="{2D58503A-D809-4AB4-9A8A-924A7D9CF522}" srcOrd="5" destOrd="0" parTransId="{08E0F4A7-DFE7-47CE-AA05-5D7B2AE0E480}" sibTransId="{97EA00E3-975A-437B-99DF-452B573089D4}"/>
    <dgm:cxn modelId="{4D621B42-832D-4E8A-B94A-F1E950C30E66}" type="presOf" srcId="{D51AA14E-0089-469C-940E-1695965DCE3B}" destId="{6607630C-3B71-4F32-A085-0FFE6A802C1B}" srcOrd="0" destOrd="0" presId="urn:microsoft.com/office/officeart/2005/8/layout/process5"/>
    <dgm:cxn modelId="{7A7F2867-A801-4C5E-A560-37C785B4E55D}" srcId="{B1657F85-9847-4489-8B50-5784606507C9}" destId="{16834912-D002-4062-AF4F-40CFC4A5189E}" srcOrd="9" destOrd="0" parTransId="{EEAE537F-09FD-4237-BBFE-438D24C7236C}" sibTransId="{840185F9-34CF-4837-844B-D01B15AB8D24}"/>
    <dgm:cxn modelId="{9AE4BA71-3629-4DF1-92C0-EC35F72D6A77}" type="presOf" srcId="{EB0218E4-3AFC-4928-B3DC-36B418C7AB8F}" destId="{1CC22E76-8F45-4118-9A10-D0A391D7CDF4}" srcOrd="0" destOrd="0" presId="urn:microsoft.com/office/officeart/2005/8/layout/process5"/>
    <dgm:cxn modelId="{06964C74-B7E4-447B-8A55-3BDB32021190}" type="presOf" srcId="{93DFCB7C-70B1-4A03-AF1B-F9C8C02A0307}" destId="{E41A5ACF-C00C-4401-AC79-BAC82F252D6C}" srcOrd="0" destOrd="0" presId="urn:microsoft.com/office/officeart/2005/8/layout/process5"/>
    <dgm:cxn modelId="{AEFBA576-B5B4-4D90-AC68-FCFA4D3E6446}" srcId="{B1657F85-9847-4489-8B50-5784606507C9}" destId="{D51AA14E-0089-469C-940E-1695965DCE3B}" srcOrd="1" destOrd="0" parTransId="{F42CEE19-CF59-4891-884C-C8393E2ECCB7}" sibTransId="{BD8F56B4-BE47-42FD-B4DF-52D82F614568}"/>
    <dgm:cxn modelId="{29B9A758-3009-4B18-8B47-1EDF19D464FE}" type="presOf" srcId="{33F78191-570A-461E-8C89-ACE9EB3ACD49}" destId="{AEAFFCA1-521A-4D24-8515-5221B9F4D620}" srcOrd="1" destOrd="0" presId="urn:microsoft.com/office/officeart/2005/8/layout/process5"/>
    <dgm:cxn modelId="{CA2BD959-2898-4962-B0EE-2A4497B1DC30}" type="presOf" srcId="{A48FF087-897C-4859-9A09-9C3A2BF79AEF}" destId="{3C37B4F9-CAEB-4AA7-B711-5545145796AF}" srcOrd="0" destOrd="0" presId="urn:microsoft.com/office/officeart/2005/8/layout/process5"/>
    <dgm:cxn modelId="{FBF2F879-1AB4-43C9-885C-F77358599952}" type="presOf" srcId="{6BCB8D2F-B6BA-40A6-90FC-EC38D476E162}" destId="{054B5FC3-6E3D-4ABB-9AF4-893F61656B63}" srcOrd="0" destOrd="0" presId="urn:microsoft.com/office/officeart/2005/8/layout/process5"/>
    <dgm:cxn modelId="{83260F84-FD1B-4820-A1BD-F2AE096FB15B}" type="presOf" srcId="{11212E20-3219-454C-A6F4-14411D14C98D}" destId="{3C8B5CEC-AD45-4C97-80D9-5CAB7139D5E8}" srcOrd="0" destOrd="0" presId="urn:microsoft.com/office/officeart/2005/8/layout/process5"/>
    <dgm:cxn modelId="{538BE286-55D1-4221-B180-0938A8B98173}" type="presOf" srcId="{4EF5EFE8-ABD1-4B7E-9216-1956E52582B3}" destId="{78626198-D045-4D83-A56F-17F1AD8366F8}" srcOrd="0" destOrd="0" presId="urn:microsoft.com/office/officeart/2005/8/layout/process5"/>
    <dgm:cxn modelId="{07C78F8A-D239-479E-A616-E6E9C0E7E1E2}" type="presOf" srcId="{16834912-D002-4062-AF4F-40CFC4A5189E}" destId="{6F1E35C1-E09C-47B4-8880-05D8B3CF1A48}" srcOrd="0" destOrd="0" presId="urn:microsoft.com/office/officeart/2005/8/layout/process5"/>
    <dgm:cxn modelId="{C34F7093-EC2E-4943-9B40-A5A221DA8321}" type="presOf" srcId="{C57A9154-5C63-4467-ABCE-817A91A9EFA0}" destId="{F07EC7D5-440B-43E4-AE9A-6CAF92060696}" srcOrd="0" destOrd="0" presId="urn:microsoft.com/office/officeart/2005/8/layout/process5"/>
    <dgm:cxn modelId="{9DB11D97-0D1D-42AC-AA1C-32ADEEAFD9B4}" type="presOf" srcId="{998EBF56-55A9-4C4E-965F-700AF5D7DF18}" destId="{FC91FB62-A79F-4735-B5E4-5EA6DC420DD7}" srcOrd="0" destOrd="0" presId="urn:microsoft.com/office/officeart/2005/8/layout/process5"/>
    <dgm:cxn modelId="{C8926497-2EA8-4EED-8EB6-772F97FFB1AF}" srcId="{B1657F85-9847-4489-8B50-5784606507C9}" destId="{6B48FCE8-C718-465A-BE63-B6B44E1FCA8D}" srcOrd="0" destOrd="0" parTransId="{7BF599B9-06B0-4228-8E34-063BB05A5D92}" sibTransId="{A090CE7C-0AC2-4906-8FEB-C1C04B649561}"/>
    <dgm:cxn modelId="{8C02779A-C24E-486A-9A96-6C1B78177178}" srcId="{B1657F85-9847-4489-8B50-5784606507C9}" destId="{88BA9C80-A9D7-4D1D-A0C1-DD4E581AC2A0}" srcOrd="6" destOrd="0" parTransId="{3529758B-5B5C-4C7F-BC6E-EFB7C93F2CA3}" sibTransId="{33F78191-570A-461E-8C89-ACE9EB3ACD49}"/>
    <dgm:cxn modelId="{BBC8CFA6-701E-4129-AB8A-75DAE32EEAA0}" type="presOf" srcId="{BD8F56B4-BE47-42FD-B4DF-52D82F614568}" destId="{79493EB3-6E49-4F85-8F22-32C76A608D68}" srcOrd="1" destOrd="0" presId="urn:microsoft.com/office/officeart/2005/8/layout/process5"/>
    <dgm:cxn modelId="{8EBD03AB-5B41-46BD-A58B-1C76E07EF959}" type="presOf" srcId="{54C289E7-1E0E-4FAD-A520-F563A4950FC3}" destId="{61FFB089-7067-4FD4-BA70-81F1D137707F}" srcOrd="0" destOrd="0" presId="urn:microsoft.com/office/officeart/2005/8/layout/process5"/>
    <dgm:cxn modelId="{CE3334AC-C449-488B-8AB9-31DD945889E9}" type="presOf" srcId="{5AA37AF4-DCDF-4F64-9698-8F2D9E246AB6}" destId="{40792985-E5BB-4CF1-BDE2-8DF5B42F5C14}" srcOrd="0" destOrd="0" presId="urn:microsoft.com/office/officeart/2005/8/layout/process5"/>
    <dgm:cxn modelId="{F26B01AF-E140-4794-B691-17D1CA5F95F4}" type="presOf" srcId="{95CDDA95-C1FE-490B-B7E4-9A6747D30327}" destId="{BFC6B883-2DCA-4A48-BBC9-03D306C9B641}" srcOrd="0" destOrd="0" presId="urn:microsoft.com/office/officeart/2005/8/layout/process5"/>
    <dgm:cxn modelId="{3978C1B6-22F8-4F8B-8C99-B02744E2EBA8}" type="presOf" srcId="{11212E20-3219-454C-A6F4-14411D14C98D}" destId="{EA1078E9-AE67-4922-9B37-70F8CB62FEDF}" srcOrd="1" destOrd="0" presId="urn:microsoft.com/office/officeart/2005/8/layout/process5"/>
    <dgm:cxn modelId="{75D506BB-6CF4-468F-ADA9-36EF90E343BD}" srcId="{B1657F85-9847-4489-8B50-5784606507C9}" destId="{95CDDA95-C1FE-490B-B7E4-9A6747D30327}" srcOrd="10" destOrd="0" parTransId="{1B5F524E-35F1-4139-AF5D-BD6B562FABDB}" sibTransId="{A48FF087-897C-4859-9A09-9C3A2BF79AEF}"/>
    <dgm:cxn modelId="{D7C963C4-D003-47A8-94D3-B694A2A30425}" type="presOf" srcId="{5AA37AF4-DCDF-4F64-9698-8F2D9E246AB6}" destId="{5578418C-0027-4109-A57E-E70A4E0CDA8D}" srcOrd="1" destOrd="0" presId="urn:microsoft.com/office/officeart/2005/8/layout/process5"/>
    <dgm:cxn modelId="{4B4967C9-D10F-4725-8EE0-0C2E529F38DB}" type="presOf" srcId="{A090CE7C-0AC2-4906-8FEB-C1C04B649561}" destId="{1CFD528B-F3A6-435C-A177-4196DA32E2C0}" srcOrd="1" destOrd="0" presId="urn:microsoft.com/office/officeart/2005/8/layout/process5"/>
    <dgm:cxn modelId="{731DDDC9-AF3B-4824-9D0F-DF59C4792C25}" srcId="{B1657F85-9847-4489-8B50-5784606507C9}" destId="{47E602A8-AF73-47EF-BD0C-3D09AF170A15}" srcOrd="3" destOrd="0" parTransId="{D8EC246C-A0EF-4767-A36F-58BEC8AF55EB}" sibTransId="{11212E20-3219-454C-A6F4-14411D14C98D}"/>
    <dgm:cxn modelId="{5700E7D0-B4C5-4A3E-8CA9-8C1DAE2F2D4B}" type="presOf" srcId="{33F78191-570A-461E-8C89-ACE9EB3ACD49}" destId="{C11481A4-418A-4D0A-BF4E-07BF6B309249}" srcOrd="0" destOrd="0" presId="urn:microsoft.com/office/officeart/2005/8/layout/process5"/>
    <dgm:cxn modelId="{950BF3D0-02B0-4690-98AC-7257D768B223}" type="presOf" srcId="{6B48FCE8-C718-465A-BE63-B6B44E1FCA8D}" destId="{4AD8F505-6438-4F5D-B0F4-226AC32CC5AE}" srcOrd="0" destOrd="0" presId="urn:microsoft.com/office/officeart/2005/8/layout/process5"/>
    <dgm:cxn modelId="{BDF58AD1-28E5-4E51-B16E-EFD9233B5DC9}" type="presOf" srcId="{C57A9154-5C63-4467-ABCE-817A91A9EFA0}" destId="{B59B781A-1A10-4F06-BC78-6A818A2734AF}" srcOrd="1" destOrd="0" presId="urn:microsoft.com/office/officeart/2005/8/layout/process5"/>
    <dgm:cxn modelId="{8BE2A9D3-AFDE-4CBB-88A4-CC7AE7C6F98D}" srcId="{B1657F85-9847-4489-8B50-5784606507C9}" destId="{54C289E7-1E0E-4FAD-A520-F563A4950FC3}" srcOrd="11" destOrd="0" parTransId="{DE4B9C33-5961-4984-8660-F96C75D5AD70}" sibTransId="{05FA958C-027F-4BA9-9BE1-CDA6D3B314EC}"/>
    <dgm:cxn modelId="{4A5883D4-F984-434B-91C1-30F867B0F874}" type="presOf" srcId="{2D58503A-D809-4AB4-9A8A-924A7D9CF522}" destId="{D1FAC6B3-EE3A-4806-B467-AC0E5BCBF91D}" srcOrd="0" destOrd="0" presId="urn:microsoft.com/office/officeart/2005/8/layout/process5"/>
    <dgm:cxn modelId="{9BF45FDD-CA41-4202-9145-681147E43A9B}" type="presOf" srcId="{B1657F85-9847-4489-8B50-5784606507C9}" destId="{D196B0D9-CBBC-4748-8A3B-EDB62ABE59E1}" srcOrd="0" destOrd="0" presId="urn:microsoft.com/office/officeart/2005/8/layout/process5"/>
    <dgm:cxn modelId="{2EA5C4E1-FBA7-4735-AB0E-658608938B19}" type="presOf" srcId="{BD8F56B4-BE47-42FD-B4DF-52D82F614568}" destId="{A162B103-1F41-4B68-A94D-1A9B8123F26B}" srcOrd="0" destOrd="0" presId="urn:microsoft.com/office/officeart/2005/8/layout/process5"/>
    <dgm:cxn modelId="{2BB2FCE1-7062-4712-B384-8715EFAB157C}" srcId="{B1657F85-9847-4489-8B50-5784606507C9}" destId="{6BCB8D2F-B6BA-40A6-90FC-EC38D476E162}" srcOrd="8" destOrd="0" parTransId="{2E243E66-F8C5-4B7B-9495-626FFE817CA8}" sibTransId="{5AA37AF4-DCDF-4F64-9698-8F2D9E246AB6}"/>
    <dgm:cxn modelId="{86FA0CE6-33EE-44C8-8C9B-EE1B2B6EF806}" type="presOf" srcId="{47E602A8-AF73-47EF-BD0C-3D09AF170A15}" destId="{62EA0B8B-ECB4-4B91-BB61-1B7B0A95537C}" srcOrd="0" destOrd="0" presId="urn:microsoft.com/office/officeart/2005/8/layout/process5"/>
    <dgm:cxn modelId="{FA772BFE-7BD2-4FE0-8F0D-F0730228F6C5}" type="presOf" srcId="{A48FF087-897C-4859-9A09-9C3A2BF79AEF}" destId="{9D297A4E-CCD2-413D-8741-527F0A541B43}" srcOrd="1" destOrd="0" presId="urn:microsoft.com/office/officeart/2005/8/layout/process5"/>
    <dgm:cxn modelId="{DF9EDFFE-ECE4-4CAD-A2D8-B24B3F7C3D7C}" type="presOf" srcId="{A090CE7C-0AC2-4906-8FEB-C1C04B649561}" destId="{CD09D8D2-DC06-4CB4-83F0-019055FE5FBB}" srcOrd="0" destOrd="0" presId="urn:microsoft.com/office/officeart/2005/8/layout/process5"/>
    <dgm:cxn modelId="{308367EF-AA64-4425-B20B-9F8BD3970E12}" type="presParOf" srcId="{D196B0D9-CBBC-4748-8A3B-EDB62ABE59E1}" destId="{4AD8F505-6438-4F5D-B0F4-226AC32CC5AE}" srcOrd="0" destOrd="0" presId="urn:microsoft.com/office/officeart/2005/8/layout/process5"/>
    <dgm:cxn modelId="{9CFB3F9D-773E-4F70-A290-16C9CBF2D538}" type="presParOf" srcId="{D196B0D9-CBBC-4748-8A3B-EDB62ABE59E1}" destId="{CD09D8D2-DC06-4CB4-83F0-019055FE5FBB}" srcOrd="1" destOrd="0" presId="urn:microsoft.com/office/officeart/2005/8/layout/process5"/>
    <dgm:cxn modelId="{C5BF57A7-A72A-41B6-997B-F283B158AEED}" type="presParOf" srcId="{CD09D8D2-DC06-4CB4-83F0-019055FE5FBB}" destId="{1CFD528B-F3A6-435C-A177-4196DA32E2C0}" srcOrd="0" destOrd="0" presId="urn:microsoft.com/office/officeart/2005/8/layout/process5"/>
    <dgm:cxn modelId="{A89C7141-74E4-45FB-AD2B-095F3D73E1D3}" type="presParOf" srcId="{D196B0D9-CBBC-4748-8A3B-EDB62ABE59E1}" destId="{6607630C-3B71-4F32-A085-0FFE6A802C1B}" srcOrd="2" destOrd="0" presId="urn:microsoft.com/office/officeart/2005/8/layout/process5"/>
    <dgm:cxn modelId="{88A2CECA-105D-41EB-BF57-1FBC2BA2C91C}" type="presParOf" srcId="{D196B0D9-CBBC-4748-8A3B-EDB62ABE59E1}" destId="{A162B103-1F41-4B68-A94D-1A9B8123F26B}" srcOrd="3" destOrd="0" presId="urn:microsoft.com/office/officeart/2005/8/layout/process5"/>
    <dgm:cxn modelId="{93620598-FDBA-478C-AE0E-7E607ECBD8AB}" type="presParOf" srcId="{A162B103-1F41-4B68-A94D-1A9B8123F26B}" destId="{79493EB3-6E49-4F85-8F22-32C76A608D68}" srcOrd="0" destOrd="0" presId="urn:microsoft.com/office/officeart/2005/8/layout/process5"/>
    <dgm:cxn modelId="{0A519B2A-8DB7-487D-B202-35D58A131EF6}" type="presParOf" srcId="{D196B0D9-CBBC-4748-8A3B-EDB62ABE59E1}" destId="{78626198-D045-4D83-A56F-17F1AD8366F8}" srcOrd="4" destOrd="0" presId="urn:microsoft.com/office/officeart/2005/8/layout/process5"/>
    <dgm:cxn modelId="{D478FDB8-EE7D-41B6-BF6F-C118ECE6EC01}" type="presParOf" srcId="{D196B0D9-CBBC-4748-8A3B-EDB62ABE59E1}" destId="{F07EC7D5-440B-43E4-AE9A-6CAF92060696}" srcOrd="5" destOrd="0" presId="urn:microsoft.com/office/officeart/2005/8/layout/process5"/>
    <dgm:cxn modelId="{FF50A0B6-1E8C-41C4-A03C-9B9C1F4E9AAC}" type="presParOf" srcId="{F07EC7D5-440B-43E4-AE9A-6CAF92060696}" destId="{B59B781A-1A10-4F06-BC78-6A818A2734AF}" srcOrd="0" destOrd="0" presId="urn:microsoft.com/office/officeart/2005/8/layout/process5"/>
    <dgm:cxn modelId="{C5466416-38BC-4628-87A4-3E66FD313219}" type="presParOf" srcId="{D196B0D9-CBBC-4748-8A3B-EDB62ABE59E1}" destId="{62EA0B8B-ECB4-4B91-BB61-1B7B0A95537C}" srcOrd="6" destOrd="0" presId="urn:microsoft.com/office/officeart/2005/8/layout/process5"/>
    <dgm:cxn modelId="{7AEF96C5-B925-49EB-AB59-D472A82CA62F}" type="presParOf" srcId="{D196B0D9-CBBC-4748-8A3B-EDB62ABE59E1}" destId="{3C8B5CEC-AD45-4C97-80D9-5CAB7139D5E8}" srcOrd="7" destOrd="0" presId="urn:microsoft.com/office/officeart/2005/8/layout/process5"/>
    <dgm:cxn modelId="{C8C92E59-4BD9-42CF-9920-E2D142F9E479}" type="presParOf" srcId="{3C8B5CEC-AD45-4C97-80D9-5CAB7139D5E8}" destId="{EA1078E9-AE67-4922-9B37-70F8CB62FEDF}" srcOrd="0" destOrd="0" presId="urn:microsoft.com/office/officeart/2005/8/layout/process5"/>
    <dgm:cxn modelId="{E6F2929B-CFFA-4646-9FF1-A7CCAFDD5E14}" type="presParOf" srcId="{D196B0D9-CBBC-4748-8A3B-EDB62ABE59E1}" destId="{E41A5ACF-C00C-4401-AC79-BAC82F252D6C}" srcOrd="8" destOrd="0" presId="urn:microsoft.com/office/officeart/2005/8/layout/process5"/>
    <dgm:cxn modelId="{27786A06-CA39-48A0-AC0C-4968A86B3B5E}" type="presParOf" srcId="{D196B0D9-CBBC-4748-8A3B-EDB62ABE59E1}" destId="{2AE41721-AAE0-478E-9951-4704F4752F4B}" srcOrd="9" destOrd="0" presId="urn:microsoft.com/office/officeart/2005/8/layout/process5"/>
    <dgm:cxn modelId="{B08F7F68-B6CE-4D76-98E6-A173905E1BEF}" type="presParOf" srcId="{2AE41721-AAE0-478E-9951-4704F4752F4B}" destId="{19BC88A5-39DC-44BD-9AEC-F822011D80B1}" srcOrd="0" destOrd="0" presId="urn:microsoft.com/office/officeart/2005/8/layout/process5"/>
    <dgm:cxn modelId="{56A74014-03A5-40F5-8ECC-C3687A7CAAD0}" type="presParOf" srcId="{D196B0D9-CBBC-4748-8A3B-EDB62ABE59E1}" destId="{D1FAC6B3-EE3A-4806-B467-AC0E5BCBF91D}" srcOrd="10" destOrd="0" presId="urn:microsoft.com/office/officeart/2005/8/layout/process5"/>
    <dgm:cxn modelId="{27D5CA5C-A06E-441D-B534-6A41FF3925AF}" type="presParOf" srcId="{D196B0D9-CBBC-4748-8A3B-EDB62ABE59E1}" destId="{2494B978-8B92-476D-8843-4FCD465B367B}" srcOrd="11" destOrd="0" presId="urn:microsoft.com/office/officeart/2005/8/layout/process5"/>
    <dgm:cxn modelId="{C1140AAE-A316-41DB-AFFA-386E3BC6B709}" type="presParOf" srcId="{2494B978-8B92-476D-8843-4FCD465B367B}" destId="{9B2C7133-E255-457D-B026-550F8744BB66}" srcOrd="0" destOrd="0" presId="urn:microsoft.com/office/officeart/2005/8/layout/process5"/>
    <dgm:cxn modelId="{3D7F4358-F4D5-46DD-8534-72A34CE06E38}" type="presParOf" srcId="{D196B0D9-CBBC-4748-8A3B-EDB62ABE59E1}" destId="{74DAD745-7226-4DA6-8B73-0819234FA05A}" srcOrd="12" destOrd="0" presId="urn:microsoft.com/office/officeart/2005/8/layout/process5"/>
    <dgm:cxn modelId="{9B5F563C-7E4B-4C7F-AEB2-9482AD40DFB8}" type="presParOf" srcId="{D196B0D9-CBBC-4748-8A3B-EDB62ABE59E1}" destId="{C11481A4-418A-4D0A-BF4E-07BF6B309249}" srcOrd="13" destOrd="0" presId="urn:microsoft.com/office/officeart/2005/8/layout/process5"/>
    <dgm:cxn modelId="{84250183-BA6A-42F8-B353-B341C8BDA757}" type="presParOf" srcId="{C11481A4-418A-4D0A-BF4E-07BF6B309249}" destId="{AEAFFCA1-521A-4D24-8515-5221B9F4D620}" srcOrd="0" destOrd="0" presId="urn:microsoft.com/office/officeart/2005/8/layout/process5"/>
    <dgm:cxn modelId="{42BA2F83-18C9-4DCB-A078-97D4319A1A65}" type="presParOf" srcId="{D196B0D9-CBBC-4748-8A3B-EDB62ABE59E1}" destId="{FC91FB62-A79F-4735-B5E4-5EA6DC420DD7}" srcOrd="14" destOrd="0" presId="urn:microsoft.com/office/officeart/2005/8/layout/process5"/>
    <dgm:cxn modelId="{B1967AED-DF0B-47D9-817E-43CDFC910C95}" type="presParOf" srcId="{D196B0D9-CBBC-4748-8A3B-EDB62ABE59E1}" destId="{1CC22E76-8F45-4118-9A10-D0A391D7CDF4}" srcOrd="15" destOrd="0" presId="urn:microsoft.com/office/officeart/2005/8/layout/process5"/>
    <dgm:cxn modelId="{77622342-A3F6-49CA-BF78-0626FF75D6E5}" type="presParOf" srcId="{1CC22E76-8F45-4118-9A10-D0A391D7CDF4}" destId="{208907CC-FAEA-47D4-BA3F-DACBFD3DB4C5}" srcOrd="0" destOrd="0" presId="urn:microsoft.com/office/officeart/2005/8/layout/process5"/>
    <dgm:cxn modelId="{C5AB25A8-3027-4A47-84B0-916E49B517F9}" type="presParOf" srcId="{D196B0D9-CBBC-4748-8A3B-EDB62ABE59E1}" destId="{054B5FC3-6E3D-4ABB-9AF4-893F61656B63}" srcOrd="16" destOrd="0" presId="urn:microsoft.com/office/officeart/2005/8/layout/process5"/>
    <dgm:cxn modelId="{79B8E317-825B-4BE5-AD69-AFFD821A7F49}" type="presParOf" srcId="{D196B0D9-CBBC-4748-8A3B-EDB62ABE59E1}" destId="{40792985-E5BB-4CF1-BDE2-8DF5B42F5C14}" srcOrd="17" destOrd="0" presId="urn:microsoft.com/office/officeart/2005/8/layout/process5"/>
    <dgm:cxn modelId="{B0E41036-317F-4246-AD25-BF5CC7FEFB27}" type="presParOf" srcId="{40792985-E5BB-4CF1-BDE2-8DF5B42F5C14}" destId="{5578418C-0027-4109-A57E-E70A4E0CDA8D}" srcOrd="0" destOrd="0" presId="urn:microsoft.com/office/officeart/2005/8/layout/process5"/>
    <dgm:cxn modelId="{B7B4E182-471B-4B47-B7A1-C27C643C600F}" type="presParOf" srcId="{D196B0D9-CBBC-4748-8A3B-EDB62ABE59E1}" destId="{6F1E35C1-E09C-47B4-8880-05D8B3CF1A48}" srcOrd="18" destOrd="0" presId="urn:microsoft.com/office/officeart/2005/8/layout/process5"/>
    <dgm:cxn modelId="{FDA7DAF7-846B-4EF9-85A5-266829CA00F9}" type="presParOf" srcId="{D196B0D9-CBBC-4748-8A3B-EDB62ABE59E1}" destId="{E6660159-855F-46A3-8E45-E80E9793F53C}" srcOrd="19" destOrd="0" presId="urn:microsoft.com/office/officeart/2005/8/layout/process5"/>
    <dgm:cxn modelId="{71E1804D-341D-4D89-9F03-40EAEBC1D109}" type="presParOf" srcId="{E6660159-855F-46A3-8E45-E80E9793F53C}" destId="{8441CDC1-CB08-451B-ACCD-AF5D8B90BB8A}" srcOrd="0" destOrd="0" presId="urn:microsoft.com/office/officeart/2005/8/layout/process5"/>
    <dgm:cxn modelId="{3EDC2E31-913E-45D0-BB36-A6B6F6063473}" type="presParOf" srcId="{D196B0D9-CBBC-4748-8A3B-EDB62ABE59E1}" destId="{BFC6B883-2DCA-4A48-BBC9-03D306C9B641}" srcOrd="20" destOrd="0" presId="urn:microsoft.com/office/officeart/2005/8/layout/process5"/>
    <dgm:cxn modelId="{AA7FF933-A620-4774-AF82-305B141816DA}" type="presParOf" srcId="{D196B0D9-CBBC-4748-8A3B-EDB62ABE59E1}" destId="{3C37B4F9-CAEB-4AA7-B711-5545145796AF}" srcOrd="21" destOrd="0" presId="urn:microsoft.com/office/officeart/2005/8/layout/process5"/>
    <dgm:cxn modelId="{ABAFCDF8-C2D9-41E5-B743-76EE07592C50}" type="presParOf" srcId="{3C37B4F9-CAEB-4AA7-B711-5545145796AF}" destId="{9D297A4E-CCD2-413D-8741-527F0A541B43}" srcOrd="0" destOrd="0" presId="urn:microsoft.com/office/officeart/2005/8/layout/process5"/>
    <dgm:cxn modelId="{820326D7-F4CA-439A-9BED-A7BF579E1586}" type="presParOf" srcId="{D196B0D9-CBBC-4748-8A3B-EDB62ABE59E1}" destId="{61FFB089-7067-4FD4-BA70-81F1D137707F}" srcOrd="22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DF79D51-39A7-4F4A-A6BE-503B706B7A03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741A449-E1AC-49CC-BE96-F061AB74A085}">
      <dgm:prSet phldrT="[Text]"/>
      <dgm:spPr/>
      <dgm:t>
        <a:bodyPr/>
        <a:lstStyle/>
        <a:p>
          <a:r>
            <a:rPr lang="en-US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Undergraduate Curriculum</a:t>
          </a:r>
        </a:p>
      </dgm:t>
    </dgm:pt>
    <dgm:pt modelId="{4DF01D25-6C5E-42E0-A803-9453D2EAF1F4}" type="parTrans" cxnId="{1E017F31-9839-4838-9BF8-77735AE556AD}">
      <dgm:prSet/>
      <dgm:spPr/>
      <dgm:t>
        <a:bodyPr/>
        <a:lstStyle/>
        <a:p>
          <a:endParaRPr lang="en-US"/>
        </a:p>
      </dgm:t>
    </dgm:pt>
    <dgm:pt modelId="{02AFAA39-0F14-4D0D-B055-E4C4B676EB53}" type="sibTrans" cxnId="{1E017F31-9839-4838-9BF8-77735AE556AD}">
      <dgm:prSet/>
      <dgm:spPr/>
      <dgm:t>
        <a:bodyPr/>
        <a:lstStyle/>
        <a:p>
          <a:endParaRPr lang="en-US"/>
        </a:p>
      </dgm:t>
    </dgm:pt>
    <dgm:pt modelId="{178204CE-AA47-4F57-B483-465B6D5A78CE}">
      <dgm:prSet phldrT="[Text]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1" dirty="0"/>
            <a:t>CHAIR: </a:t>
          </a:r>
          <a:r>
            <a:rPr lang="en-US" dirty="0"/>
            <a:t>Rudi Colloredo-</a:t>
          </a:r>
          <a:r>
            <a:rPr lang="en-US" dirty="0" err="1"/>
            <a:t>Mansfeld</a:t>
          </a:r>
          <a:br>
            <a:rPr lang="en-US" dirty="0"/>
          </a:br>
          <a:endParaRPr lang="en-US" dirty="0"/>
        </a:p>
      </dgm:t>
    </dgm:pt>
    <dgm:pt modelId="{AFD82673-4486-440C-8666-07688CA6713D}" type="parTrans" cxnId="{41D8C651-213D-4162-8C6A-CD9146C4CF2C}">
      <dgm:prSet/>
      <dgm:spPr/>
      <dgm:t>
        <a:bodyPr/>
        <a:lstStyle/>
        <a:p>
          <a:endParaRPr lang="en-US"/>
        </a:p>
      </dgm:t>
    </dgm:pt>
    <dgm:pt modelId="{F26426F0-1F55-46E0-9A24-15AABF484B8C}" type="sibTrans" cxnId="{41D8C651-213D-4162-8C6A-CD9146C4CF2C}">
      <dgm:prSet/>
      <dgm:spPr/>
      <dgm:t>
        <a:bodyPr/>
        <a:lstStyle/>
        <a:p>
          <a:endParaRPr lang="en-US"/>
        </a:p>
      </dgm:t>
    </dgm:pt>
    <dgm:pt modelId="{12BBB435-AD10-4C76-92F3-BEC21D6C69E9}">
      <dgm:prSet phldrT="[Text]"/>
      <dgm:spPr/>
      <dgm:t>
        <a:bodyPr/>
        <a:lstStyle/>
        <a:p>
          <a:r>
            <a:rPr lang="en-US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Graduate Curriculum</a:t>
          </a:r>
        </a:p>
      </dgm:t>
    </dgm:pt>
    <dgm:pt modelId="{73585339-8C7A-4BE9-A595-A767AE3A64FA}" type="parTrans" cxnId="{35119A7C-C9F5-469A-9DEA-1676D301FE49}">
      <dgm:prSet/>
      <dgm:spPr/>
      <dgm:t>
        <a:bodyPr/>
        <a:lstStyle/>
        <a:p>
          <a:endParaRPr lang="en-US"/>
        </a:p>
      </dgm:t>
    </dgm:pt>
    <dgm:pt modelId="{2139E2D8-5432-4C64-960C-6B03EE32B398}" type="sibTrans" cxnId="{35119A7C-C9F5-469A-9DEA-1676D301FE49}">
      <dgm:prSet/>
      <dgm:spPr/>
      <dgm:t>
        <a:bodyPr/>
        <a:lstStyle/>
        <a:p>
          <a:endParaRPr lang="en-US"/>
        </a:p>
      </dgm:t>
    </dgm:pt>
    <dgm:pt modelId="{1F7BA84D-09FE-4B2F-AABD-4EC71EBF07C5}">
      <dgm:prSet phldrT="[Text]"/>
      <dgm:spPr/>
      <dgm:t>
        <a:bodyPr/>
        <a:lstStyle/>
        <a:p>
          <a:r>
            <a:rPr lang="en-US" b="1" dirty="0"/>
            <a:t>CHAIR: </a:t>
          </a:r>
          <a:r>
            <a:rPr lang="en-US" dirty="0"/>
            <a:t>Tim </a:t>
          </a:r>
          <a:r>
            <a:rPr lang="en-US" dirty="0" err="1"/>
            <a:t>Elston</a:t>
          </a:r>
          <a:endParaRPr lang="en-US" dirty="0"/>
        </a:p>
      </dgm:t>
    </dgm:pt>
    <dgm:pt modelId="{7AC8336B-8786-4A82-A8FE-D407DA893C2B}" type="parTrans" cxnId="{C3F3B727-62BB-490D-B8AC-7A6616BFD022}">
      <dgm:prSet/>
      <dgm:spPr/>
      <dgm:t>
        <a:bodyPr/>
        <a:lstStyle/>
        <a:p>
          <a:endParaRPr lang="en-US"/>
        </a:p>
      </dgm:t>
    </dgm:pt>
    <dgm:pt modelId="{77D45FDC-3E64-45B4-9A18-6BB79E65B3F5}" type="sibTrans" cxnId="{C3F3B727-62BB-490D-B8AC-7A6616BFD022}">
      <dgm:prSet/>
      <dgm:spPr/>
      <dgm:t>
        <a:bodyPr/>
        <a:lstStyle/>
        <a:p>
          <a:endParaRPr lang="en-US"/>
        </a:p>
      </dgm:t>
    </dgm:pt>
    <dgm:pt modelId="{7D8073DB-BD95-4BE3-8120-27CEE47E6161}">
      <dgm:prSet phldrT="[Text]"/>
      <dgm:spPr/>
      <dgm:t>
        <a:bodyPr/>
        <a:lstStyle/>
        <a:p>
          <a:r>
            <a:rPr lang="en-US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Research</a:t>
          </a:r>
        </a:p>
      </dgm:t>
    </dgm:pt>
    <dgm:pt modelId="{B9C2A100-5D47-4026-8336-54210E6170E6}" type="parTrans" cxnId="{37CFBE1D-E8F4-42B1-95FC-6CCA9DAF8767}">
      <dgm:prSet/>
      <dgm:spPr/>
      <dgm:t>
        <a:bodyPr/>
        <a:lstStyle/>
        <a:p>
          <a:endParaRPr lang="en-US"/>
        </a:p>
      </dgm:t>
    </dgm:pt>
    <dgm:pt modelId="{316858D3-9E4A-4DFF-B63B-EAE7B4B226D4}" type="sibTrans" cxnId="{37CFBE1D-E8F4-42B1-95FC-6CCA9DAF8767}">
      <dgm:prSet/>
      <dgm:spPr/>
      <dgm:t>
        <a:bodyPr/>
        <a:lstStyle/>
        <a:p>
          <a:endParaRPr lang="en-US"/>
        </a:p>
      </dgm:t>
    </dgm:pt>
    <dgm:pt modelId="{A7F525FD-DB3D-47EB-AD2D-CD8AA537B4D2}">
      <dgm:prSet phldrT="[Text]"/>
      <dgm:spPr/>
      <dgm:t>
        <a:bodyPr/>
        <a:lstStyle/>
        <a:p>
          <a:r>
            <a:rPr lang="en-US" b="1" dirty="0"/>
            <a:t>CHAIR: </a:t>
          </a:r>
          <a:r>
            <a:rPr lang="en-US" dirty="0"/>
            <a:t>Michael </a:t>
          </a:r>
          <a:r>
            <a:rPr lang="en-US" dirty="0" err="1"/>
            <a:t>Kosorok</a:t>
          </a:r>
          <a:endParaRPr lang="en-US" dirty="0"/>
        </a:p>
      </dgm:t>
    </dgm:pt>
    <dgm:pt modelId="{D6770B02-3075-4454-BDE4-5B020FB8858D}" type="parTrans" cxnId="{9DC4666B-CF5B-4F22-9EEC-0836A78B8873}">
      <dgm:prSet/>
      <dgm:spPr/>
      <dgm:t>
        <a:bodyPr/>
        <a:lstStyle/>
        <a:p>
          <a:endParaRPr lang="en-US"/>
        </a:p>
      </dgm:t>
    </dgm:pt>
    <dgm:pt modelId="{253235E8-F924-4C2E-A61C-B148AC901C75}" type="sibTrans" cxnId="{9DC4666B-CF5B-4F22-9EEC-0836A78B8873}">
      <dgm:prSet/>
      <dgm:spPr/>
      <dgm:t>
        <a:bodyPr/>
        <a:lstStyle/>
        <a:p>
          <a:endParaRPr lang="en-US"/>
        </a:p>
      </dgm:t>
    </dgm:pt>
    <dgm:pt modelId="{E22C4548-396C-4909-8A86-918CAE36E964}">
      <dgm:prSet phldrT="[Text]"/>
      <dgm:spPr/>
      <dgm:t>
        <a:bodyPr/>
        <a:lstStyle/>
        <a:p>
          <a:r>
            <a:rPr lang="en-US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Community Impact &amp; Civic Engagement</a:t>
          </a:r>
        </a:p>
      </dgm:t>
    </dgm:pt>
    <dgm:pt modelId="{C477DB5B-EDE1-4069-A726-838371BCBCE6}" type="parTrans" cxnId="{85750BE9-A479-460E-8BF4-D8505EE5AC75}">
      <dgm:prSet/>
      <dgm:spPr/>
      <dgm:t>
        <a:bodyPr/>
        <a:lstStyle/>
        <a:p>
          <a:endParaRPr lang="en-US"/>
        </a:p>
      </dgm:t>
    </dgm:pt>
    <dgm:pt modelId="{0DBC7AF6-1FAC-4CE9-B0CD-3F03092C35E1}" type="sibTrans" cxnId="{85750BE9-A479-460E-8BF4-D8505EE5AC75}">
      <dgm:prSet/>
      <dgm:spPr/>
      <dgm:t>
        <a:bodyPr/>
        <a:lstStyle/>
        <a:p>
          <a:endParaRPr lang="en-US"/>
        </a:p>
      </dgm:t>
    </dgm:pt>
    <dgm:pt modelId="{A9C93312-2815-42C2-BD96-75A3978496D9}">
      <dgm:prSet phldrT="[Text]"/>
      <dgm:spPr/>
      <dgm:t>
        <a:bodyPr/>
        <a:lstStyle/>
        <a:p>
          <a:r>
            <a:rPr lang="en-US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Physical Infrastructure</a:t>
          </a:r>
        </a:p>
      </dgm:t>
    </dgm:pt>
    <dgm:pt modelId="{4DA4071E-1149-494D-A9F4-3D5CE3D1C05A}" type="parTrans" cxnId="{4835247A-457C-41DC-8836-D32C640A9A21}">
      <dgm:prSet/>
      <dgm:spPr/>
      <dgm:t>
        <a:bodyPr/>
        <a:lstStyle/>
        <a:p>
          <a:endParaRPr lang="en-US"/>
        </a:p>
      </dgm:t>
    </dgm:pt>
    <dgm:pt modelId="{D6FA55A2-BF86-4A44-A81A-195473925E85}" type="sibTrans" cxnId="{4835247A-457C-41DC-8836-D32C640A9A21}">
      <dgm:prSet/>
      <dgm:spPr/>
      <dgm:t>
        <a:bodyPr/>
        <a:lstStyle/>
        <a:p>
          <a:endParaRPr lang="en-US"/>
        </a:p>
      </dgm:t>
    </dgm:pt>
    <dgm:pt modelId="{1C836D0E-DA36-4356-80B2-F7002F88F1D0}">
      <dgm:prSet phldrT="[Text]"/>
      <dgm:spPr/>
      <dgm:t>
        <a:bodyPr/>
        <a:lstStyle/>
        <a:p>
          <a:r>
            <a:rPr lang="en-US" b="1" dirty="0"/>
            <a:t>CHAIR: </a:t>
          </a:r>
          <a:r>
            <a:rPr lang="en-US" dirty="0"/>
            <a:t>Ryan Thornburg</a:t>
          </a:r>
        </a:p>
      </dgm:t>
    </dgm:pt>
    <dgm:pt modelId="{C788A7B0-5503-4678-9F50-04AD22899771}" type="parTrans" cxnId="{FA00909D-01FD-4328-AF48-5D0A41F4F8BE}">
      <dgm:prSet/>
      <dgm:spPr/>
      <dgm:t>
        <a:bodyPr/>
        <a:lstStyle/>
        <a:p>
          <a:endParaRPr lang="en-US"/>
        </a:p>
      </dgm:t>
    </dgm:pt>
    <dgm:pt modelId="{3D2A2240-6D27-49A6-8820-AFFA110FC2CC}" type="sibTrans" cxnId="{FA00909D-01FD-4328-AF48-5D0A41F4F8BE}">
      <dgm:prSet/>
      <dgm:spPr/>
      <dgm:t>
        <a:bodyPr/>
        <a:lstStyle/>
        <a:p>
          <a:endParaRPr lang="en-US"/>
        </a:p>
      </dgm:t>
    </dgm:pt>
    <dgm:pt modelId="{18268957-EC88-45AA-95B2-698C95CAC15C}">
      <dgm:prSet phldrT="[Text]"/>
      <dgm:spPr/>
      <dgm:t>
        <a:bodyPr/>
        <a:lstStyle/>
        <a:p>
          <a:r>
            <a:rPr lang="en-US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Finance &amp; Funding</a:t>
          </a:r>
        </a:p>
      </dgm:t>
    </dgm:pt>
    <dgm:pt modelId="{339429E9-131F-4836-AFEE-46486708B6BB}" type="parTrans" cxnId="{A2000D01-47AF-41B6-BE2C-72184403DA23}">
      <dgm:prSet/>
      <dgm:spPr/>
      <dgm:t>
        <a:bodyPr/>
        <a:lstStyle/>
        <a:p>
          <a:endParaRPr lang="en-US"/>
        </a:p>
      </dgm:t>
    </dgm:pt>
    <dgm:pt modelId="{FB148CB3-3CB8-4BA6-83A5-B65481BAC779}" type="sibTrans" cxnId="{A2000D01-47AF-41B6-BE2C-72184403DA23}">
      <dgm:prSet/>
      <dgm:spPr/>
      <dgm:t>
        <a:bodyPr/>
        <a:lstStyle/>
        <a:p>
          <a:endParaRPr lang="en-US"/>
        </a:p>
      </dgm:t>
    </dgm:pt>
    <dgm:pt modelId="{ED75ABAB-3CE8-4692-B093-3A464D4A6A93}">
      <dgm:prSet phldrT="[Text]"/>
      <dgm:spPr/>
      <dgm:t>
        <a:bodyPr/>
        <a:lstStyle/>
        <a:p>
          <a:r>
            <a:rPr lang="en-US" b="1" dirty="0"/>
            <a:t>CHAIR: </a:t>
          </a:r>
          <a:r>
            <a:rPr lang="en-US" dirty="0"/>
            <a:t>Scott Savage</a:t>
          </a:r>
        </a:p>
      </dgm:t>
    </dgm:pt>
    <dgm:pt modelId="{2FD42A3F-F34E-402E-BE2F-82504D5DD578}" type="parTrans" cxnId="{C949F118-C5EC-4136-8DBA-51C631FE2C66}">
      <dgm:prSet/>
      <dgm:spPr/>
      <dgm:t>
        <a:bodyPr/>
        <a:lstStyle/>
        <a:p>
          <a:endParaRPr lang="en-US"/>
        </a:p>
      </dgm:t>
    </dgm:pt>
    <dgm:pt modelId="{E844D76C-CB9D-44C7-9523-520C078B0C3B}" type="sibTrans" cxnId="{C949F118-C5EC-4136-8DBA-51C631FE2C66}">
      <dgm:prSet/>
      <dgm:spPr/>
      <dgm:t>
        <a:bodyPr/>
        <a:lstStyle/>
        <a:p>
          <a:endParaRPr lang="en-US"/>
        </a:p>
      </dgm:t>
    </dgm:pt>
    <dgm:pt modelId="{25592E19-C0C8-44FE-82D7-9365C07D44B4}">
      <dgm:prSet phldrT="[Text]"/>
      <dgm:spPr/>
      <dgm:t>
        <a:bodyPr/>
        <a:lstStyle/>
        <a:p>
          <a:r>
            <a:rPr lang="en-US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tudent Services &amp; Staff Support</a:t>
          </a:r>
        </a:p>
      </dgm:t>
    </dgm:pt>
    <dgm:pt modelId="{F2C0EE22-70DD-46C1-8741-17F0012A3C83}" type="parTrans" cxnId="{264741CA-120F-4FD3-A928-C36AF935B24A}">
      <dgm:prSet/>
      <dgm:spPr/>
      <dgm:t>
        <a:bodyPr/>
        <a:lstStyle/>
        <a:p>
          <a:endParaRPr lang="en-US"/>
        </a:p>
      </dgm:t>
    </dgm:pt>
    <dgm:pt modelId="{AC21B32C-3178-43B2-961F-E0EE67F074C5}" type="sibTrans" cxnId="{264741CA-120F-4FD3-A928-C36AF935B24A}">
      <dgm:prSet/>
      <dgm:spPr/>
      <dgm:t>
        <a:bodyPr/>
        <a:lstStyle/>
        <a:p>
          <a:endParaRPr lang="en-US"/>
        </a:p>
      </dgm:t>
    </dgm:pt>
    <dgm:pt modelId="{F512CDDC-66B6-47BA-9A3D-538F3EAEED11}">
      <dgm:prSet phldrT="[Text]"/>
      <dgm:spPr/>
      <dgm:t>
        <a:bodyPr/>
        <a:lstStyle/>
        <a:p>
          <a:r>
            <a:rPr lang="en-US" b="1" dirty="0"/>
            <a:t>CHAIR: </a:t>
          </a:r>
          <a:r>
            <a:rPr lang="en-US" dirty="0"/>
            <a:t>Jana Ready</a:t>
          </a:r>
        </a:p>
      </dgm:t>
    </dgm:pt>
    <dgm:pt modelId="{5389C837-EBA1-4886-8773-7CA6FF893F15}" type="parTrans" cxnId="{538E3756-3A09-4702-AAF5-0C456B5DD917}">
      <dgm:prSet/>
      <dgm:spPr/>
      <dgm:t>
        <a:bodyPr/>
        <a:lstStyle/>
        <a:p>
          <a:endParaRPr lang="en-US"/>
        </a:p>
      </dgm:t>
    </dgm:pt>
    <dgm:pt modelId="{BD2DF7EF-1690-4934-A204-43DE8A2D6CF5}" type="sibTrans" cxnId="{538E3756-3A09-4702-AAF5-0C456B5DD917}">
      <dgm:prSet/>
      <dgm:spPr/>
      <dgm:t>
        <a:bodyPr/>
        <a:lstStyle/>
        <a:p>
          <a:endParaRPr lang="en-US"/>
        </a:p>
      </dgm:t>
    </dgm:pt>
    <dgm:pt modelId="{EB0F7D47-816F-48A0-84F3-128E1322DFFD}">
      <dgm:prSet phldrT="[Text]"/>
      <dgm:spPr/>
      <dgm:t>
        <a:bodyPr/>
        <a:lstStyle/>
        <a:p>
          <a:endParaRPr lang="en-US" dirty="0"/>
        </a:p>
      </dgm:t>
    </dgm:pt>
    <dgm:pt modelId="{ADAE6121-37A8-4A85-8C6F-1CD100B7235E}" type="parTrans" cxnId="{7EFECF16-EEBE-4319-91E9-47F53FDE8C30}">
      <dgm:prSet/>
      <dgm:spPr/>
      <dgm:t>
        <a:bodyPr/>
        <a:lstStyle/>
        <a:p>
          <a:endParaRPr lang="en-US"/>
        </a:p>
      </dgm:t>
    </dgm:pt>
    <dgm:pt modelId="{55529BF3-9CEC-4140-BE1E-E43E16F5AB1F}" type="sibTrans" cxnId="{7EFECF16-EEBE-4319-91E9-47F53FDE8C30}">
      <dgm:prSet/>
      <dgm:spPr/>
      <dgm:t>
        <a:bodyPr/>
        <a:lstStyle/>
        <a:p>
          <a:endParaRPr lang="en-US"/>
        </a:p>
      </dgm:t>
    </dgm:pt>
    <dgm:pt modelId="{C051CB7A-E56C-49E1-9CD0-FC030106C08E}">
      <dgm:prSet phldrT="[Text]"/>
      <dgm:spPr/>
      <dgm:t>
        <a:bodyPr/>
        <a:lstStyle/>
        <a:p>
          <a:endParaRPr lang="en-US" dirty="0"/>
        </a:p>
      </dgm:t>
    </dgm:pt>
    <dgm:pt modelId="{C2DC107C-D843-45BD-8C2D-1F4271B27C06}" type="parTrans" cxnId="{C46585BB-B53F-47F7-A1FC-C1F620C11D5A}">
      <dgm:prSet/>
      <dgm:spPr/>
      <dgm:t>
        <a:bodyPr/>
        <a:lstStyle/>
        <a:p>
          <a:endParaRPr lang="en-US"/>
        </a:p>
      </dgm:t>
    </dgm:pt>
    <dgm:pt modelId="{487B8DAF-4CCC-4AB4-9E1A-7B3A09C6E443}" type="sibTrans" cxnId="{C46585BB-B53F-47F7-A1FC-C1F620C11D5A}">
      <dgm:prSet/>
      <dgm:spPr/>
      <dgm:t>
        <a:bodyPr/>
        <a:lstStyle/>
        <a:p>
          <a:endParaRPr lang="en-US"/>
        </a:p>
      </dgm:t>
    </dgm:pt>
    <dgm:pt modelId="{62C14358-16FA-4123-AFE1-63D3189162BE}">
      <dgm:prSet phldrT="[Text]"/>
      <dgm:spPr/>
      <dgm:t>
        <a:bodyPr/>
        <a:lstStyle/>
        <a:p>
          <a:r>
            <a:rPr lang="en-US" b="1" dirty="0"/>
            <a:t>CHAIR: </a:t>
          </a:r>
          <a:r>
            <a:rPr lang="en-US" dirty="0"/>
            <a:t>Steve Farmer</a:t>
          </a:r>
        </a:p>
      </dgm:t>
    </dgm:pt>
    <dgm:pt modelId="{192E833C-4C20-479A-856B-C797E25BF234}" type="parTrans" cxnId="{3BCDD31A-96D4-42DB-90F9-AE417CB77D13}">
      <dgm:prSet/>
      <dgm:spPr/>
      <dgm:t>
        <a:bodyPr/>
        <a:lstStyle/>
        <a:p>
          <a:endParaRPr lang="en-US"/>
        </a:p>
      </dgm:t>
    </dgm:pt>
    <dgm:pt modelId="{F2E17EFB-7044-4A6D-A7BC-D5F09A2C5AAB}" type="sibTrans" cxnId="{3BCDD31A-96D4-42DB-90F9-AE417CB77D13}">
      <dgm:prSet/>
      <dgm:spPr/>
      <dgm:t>
        <a:bodyPr/>
        <a:lstStyle/>
        <a:p>
          <a:endParaRPr lang="en-US"/>
        </a:p>
      </dgm:t>
    </dgm:pt>
    <dgm:pt modelId="{5B6DAC54-8624-440B-BFC6-1F0CD04A28E5}">
      <dgm:prSet phldrT="[Text]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1" dirty="0"/>
            <a:t>STEERING COMMITTEE LIAISON: </a:t>
          </a:r>
          <a:r>
            <a:rPr lang="en-US" dirty="0"/>
            <a:t>Dan Anderson</a:t>
          </a:r>
        </a:p>
      </dgm:t>
    </dgm:pt>
    <dgm:pt modelId="{F9D991E6-28C6-43B8-8EFF-015DFF3E6AF0}" type="parTrans" cxnId="{0F0CB349-1860-4828-94A1-B2808324D7BE}">
      <dgm:prSet/>
      <dgm:spPr/>
      <dgm:t>
        <a:bodyPr/>
        <a:lstStyle/>
        <a:p>
          <a:endParaRPr lang="en-US"/>
        </a:p>
      </dgm:t>
    </dgm:pt>
    <dgm:pt modelId="{1A7DE380-72A4-451C-91E2-8DC8844E1B76}" type="sibTrans" cxnId="{0F0CB349-1860-4828-94A1-B2808324D7BE}">
      <dgm:prSet/>
      <dgm:spPr/>
      <dgm:t>
        <a:bodyPr/>
        <a:lstStyle/>
        <a:p>
          <a:endParaRPr lang="en-US"/>
        </a:p>
      </dgm:t>
    </dgm:pt>
    <dgm:pt modelId="{659F89D5-EE67-4CB4-8CCA-3AC626396903}">
      <dgm:prSet phldrT="[Text]"/>
      <dgm:spPr/>
      <dgm:t>
        <a:bodyPr/>
        <a:lstStyle/>
        <a:p>
          <a:r>
            <a:rPr lang="en-US" b="1" dirty="0"/>
            <a:t>STEERING COMMITTEE LIAISON: </a:t>
          </a:r>
          <a:r>
            <a:rPr lang="en-US" dirty="0"/>
            <a:t>Suzanne Barbour</a:t>
          </a:r>
        </a:p>
      </dgm:t>
    </dgm:pt>
    <dgm:pt modelId="{6FF30C88-3D4D-4DDE-BEA6-A3D9210D4489}" type="parTrans" cxnId="{56B32B40-BCF9-44C1-A8DD-3240BA9402A6}">
      <dgm:prSet/>
      <dgm:spPr/>
      <dgm:t>
        <a:bodyPr/>
        <a:lstStyle/>
        <a:p>
          <a:endParaRPr lang="en-US"/>
        </a:p>
      </dgm:t>
    </dgm:pt>
    <dgm:pt modelId="{09331F2D-169F-46D3-AFA1-AFCFC89A5837}" type="sibTrans" cxnId="{56B32B40-BCF9-44C1-A8DD-3240BA9402A6}">
      <dgm:prSet/>
      <dgm:spPr/>
      <dgm:t>
        <a:bodyPr/>
        <a:lstStyle/>
        <a:p>
          <a:endParaRPr lang="en-US"/>
        </a:p>
      </dgm:t>
    </dgm:pt>
    <dgm:pt modelId="{85469E66-7DD6-4AFE-B13D-EB916CBFDCCA}">
      <dgm:prSet phldrT="[Text]"/>
      <dgm:spPr/>
      <dgm:t>
        <a:bodyPr/>
        <a:lstStyle/>
        <a:p>
          <a:r>
            <a:rPr lang="en-US" b="1" dirty="0"/>
            <a:t>STEERING COMMITTEE LIAISON: </a:t>
          </a:r>
          <a:r>
            <a:rPr lang="en-US" dirty="0"/>
            <a:t>Todd BenDor and Alex </a:t>
          </a:r>
          <a:r>
            <a:rPr lang="en-US" dirty="0" err="1"/>
            <a:t>Tropsha</a:t>
          </a:r>
          <a:endParaRPr lang="en-US" dirty="0"/>
        </a:p>
      </dgm:t>
    </dgm:pt>
    <dgm:pt modelId="{D4E83A87-7FA8-4D8F-8F35-E2467013B8B6}" type="parTrans" cxnId="{9CA1C5A2-4CD3-45B8-A6F3-3637380C3642}">
      <dgm:prSet/>
      <dgm:spPr/>
      <dgm:t>
        <a:bodyPr/>
        <a:lstStyle/>
        <a:p>
          <a:endParaRPr lang="en-US"/>
        </a:p>
      </dgm:t>
    </dgm:pt>
    <dgm:pt modelId="{FA77F1AD-2231-4691-952D-1868F1A86846}" type="sibTrans" cxnId="{9CA1C5A2-4CD3-45B8-A6F3-3637380C3642}">
      <dgm:prSet/>
      <dgm:spPr/>
      <dgm:t>
        <a:bodyPr/>
        <a:lstStyle/>
        <a:p>
          <a:endParaRPr lang="en-US"/>
        </a:p>
      </dgm:t>
    </dgm:pt>
    <dgm:pt modelId="{2E4E101D-846D-440D-9F57-9CDBF94EC54E}">
      <dgm:prSet phldrT="[Text]"/>
      <dgm:spPr/>
      <dgm:t>
        <a:bodyPr/>
        <a:lstStyle/>
        <a:p>
          <a:r>
            <a:rPr lang="en-US" b="1" dirty="0"/>
            <a:t>STEERING COMMITTEE LIAISON: </a:t>
          </a:r>
          <a:r>
            <a:rPr lang="en-US" dirty="0"/>
            <a:t>Joel Curran</a:t>
          </a:r>
        </a:p>
      </dgm:t>
    </dgm:pt>
    <dgm:pt modelId="{3D94D16A-3F0E-4094-BD6A-7374446410C7}" type="parTrans" cxnId="{A0C417F2-781E-4A6C-A0EE-68A5D6F94674}">
      <dgm:prSet/>
      <dgm:spPr/>
      <dgm:t>
        <a:bodyPr/>
        <a:lstStyle/>
        <a:p>
          <a:endParaRPr lang="en-US"/>
        </a:p>
      </dgm:t>
    </dgm:pt>
    <dgm:pt modelId="{0BDEE07D-AA0A-4C8A-8B5B-D49D736F813E}" type="sibTrans" cxnId="{A0C417F2-781E-4A6C-A0EE-68A5D6F94674}">
      <dgm:prSet/>
      <dgm:spPr/>
      <dgm:t>
        <a:bodyPr/>
        <a:lstStyle/>
        <a:p>
          <a:endParaRPr lang="en-US"/>
        </a:p>
      </dgm:t>
    </dgm:pt>
    <dgm:pt modelId="{8F40F315-42B7-4045-AD80-CC9DB9C9121C}">
      <dgm:prSet phldrT="[Text]"/>
      <dgm:spPr/>
      <dgm:t>
        <a:bodyPr/>
        <a:lstStyle/>
        <a:p>
          <a:r>
            <a:rPr lang="en-US" b="1" dirty="0"/>
            <a:t>STEERING COMMITTEE LIAISON: </a:t>
          </a:r>
          <a:r>
            <a:rPr lang="en-US" dirty="0"/>
            <a:t>Elaine Westbrooks</a:t>
          </a:r>
          <a:br>
            <a:rPr lang="en-US" dirty="0"/>
          </a:br>
          <a:endParaRPr lang="en-US" dirty="0"/>
        </a:p>
      </dgm:t>
    </dgm:pt>
    <dgm:pt modelId="{CE89ADE9-8F96-4D65-9C02-F46E6733F332}" type="parTrans" cxnId="{8316AB78-E2D5-4A8F-920C-54C894C4553E}">
      <dgm:prSet/>
      <dgm:spPr/>
      <dgm:t>
        <a:bodyPr/>
        <a:lstStyle/>
        <a:p>
          <a:endParaRPr lang="en-US"/>
        </a:p>
      </dgm:t>
    </dgm:pt>
    <dgm:pt modelId="{0FA49AB8-63E1-40BF-AA3C-B645F5260C6F}" type="sibTrans" cxnId="{8316AB78-E2D5-4A8F-920C-54C894C4553E}">
      <dgm:prSet/>
      <dgm:spPr/>
      <dgm:t>
        <a:bodyPr/>
        <a:lstStyle/>
        <a:p>
          <a:endParaRPr lang="en-US"/>
        </a:p>
      </dgm:t>
    </dgm:pt>
    <dgm:pt modelId="{4F103319-1E1C-4493-911D-A03521F53239}">
      <dgm:prSet phldrT="[Text]"/>
      <dgm:spPr/>
      <dgm:t>
        <a:bodyPr/>
        <a:lstStyle/>
        <a:p>
          <a:r>
            <a:rPr lang="en-US" b="1" dirty="0"/>
            <a:t>STEERING COMMITTEE LIAISON: </a:t>
          </a:r>
          <a:r>
            <a:rPr lang="en-US" dirty="0"/>
            <a:t>Nate Knuffman</a:t>
          </a:r>
        </a:p>
      </dgm:t>
    </dgm:pt>
    <dgm:pt modelId="{4D34987C-687A-4093-B660-63617CF3F4BE}" type="parTrans" cxnId="{89D49137-5815-425C-8733-DC5F5AB8F1F1}">
      <dgm:prSet/>
      <dgm:spPr/>
      <dgm:t>
        <a:bodyPr/>
        <a:lstStyle/>
        <a:p>
          <a:endParaRPr lang="en-US"/>
        </a:p>
      </dgm:t>
    </dgm:pt>
    <dgm:pt modelId="{034DE825-1BD0-4542-94C8-886988E1FBC7}" type="sibTrans" cxnId="{89D49137-5815-425C-8733-DC5F5AB8F1F1}">
      <dgm:prSet/>
      <dgm:spPr/>
      <dgm:t>
        <a:bodyPr/>
        <a:lstStyle/>
        <a:p>
          <a:endParaRPr lang="en-US"/>
        </a:p>
      </dgm:t>
    </dgm:pt>
    <dgm:pt modelId="{A35B7C6C-8DDA-4406-AED8-3DF708C7CB79}">
      <dgm:prSet phldrT="[Text]"/>
      <dgm:spPr/>
      <dgm:t>
        <a:bodyPr/>
        <a:lstStyle/>
        <a:p>
          <a:r>
            <a:rPr lang="en-US" b="1" dirty="0"/>
            <a:t>STEERING COMMITTEE LIAISON: </a:t>
          </a:r>
          <a:r>
            <a:rPr lang="en-US" dirty="0"/>
            <a:t>Chris Clemens and Andy Johns</a:t>
          </a:r>
        </a:p>
      </dgm:t>
    </dgm:pt>
    <dgm:pt modelId="{1B62178E-7A9F-4E16-B94B-96C13A404363}" type="parTrans" cxnId="{51C193D0-3C95-46E1-8D47-9E34F487847A}">
      <dgm:prSet/>
      <dgm:spPr/>
      <dgm:t>
        <a:bodyPr/>
        <a:lstStyle/>
        <a:p>
          <a:endParaRPr lang="en-US"/>
        </a:p>
      </dgm:t>
    </dgm:pt>
    <dgm:pt modelId="{C843EDFA-F3FA-48C1-BE87-D76C4054A903}" type="sibTrans" cxnId="{51C193D0-3C95-46E1-8D47-9E34F487847A}">
      <dgm:prSet/>
      <dgm:spPr/>
      <dgm:t>
        <a:bodyPr/>
        <a:lstStyle/>
        <a:p>
          <a:endParaRPr lang="en-US"/>
        </a:p>
      </dgm:t>
    </dgm:pt>
    <dgm:pt modelId="{07258F1A-77E0-45CD-8D83-099BE39E0BF8}">
      <dgm:prSet phldrT="[Text]"/>
      <dgm:spPr/>
      <dgm:t>
        <a:bodyPr/>
        <a:lstStyle/>
        <a:p>
          <a:pPr>
            <a:buNone/>
          </a:pPr>
          <a:br>
            <a:rPr lang="en-US" dirty="0"/>
          </a:br>
          <a:endParaRPr lang="en-US" dirty="0"/>
        </a:p>
      </dgm:t>
    </dgm:pt>
    <dgm:pt modelId="{B68F823F-3D86-4FC1-B367-2ECC168E77A9}" type="parTrans" cxnId="{DC1830C4-8392-4132-A365-6C59EC81AD83}">
      <dgm:prSet/>
      <dgm:spPr/>
      <dgm:t>
        <a:bodyPr/>
        <a:lstStyle/>
        <a:p>
          <a:endParaRPr lang="en-US"/>
        </a:p>
      </dgm:t>
    </dgm:pt>
    <dgm:pt modelId="{5C933D15-5EF2-4B12-B533-F0F95D1451EC}" type="sibTrans" cxnId="{DC1830C4-8392-4132-A365-6C59EC81AD83}">
      <dgm:prSet/>
      <dgm:spPr/>
      <dgm:t>
        <a:bodyPr/>
        <a:lstStyle/>
        <a:p>
          <a:endParaRPr lang="en-US"/>
        </a:p>
      </dgm:t>
    </dgm:pt>
    <dgm:pt modelId="{34ECCC44-CB90-471F-8CA1-958B49C7A05F}">
      <dgm:prSet phldrT="[Text]"/>
      <dgm:spPr/>
      <dgm:t>
        <a:bodyPr/>
        <a:lstStyle/>
        <a:p>
          <a:pPr>
            <a:buNone/>
          </a:pPr>
          <a:br>
            <a:rPr lang="en-US" dirty="0"/>
          </a:br>
          <a:endParaRPr lang="en-US" dirty="0"/>
        </a:p>
      </dgm:t>
    </dgm:pt>
    <dgm:pt modelId="{DD32B6F4-55B6-4E36-9CB5-63590CACB8F9}" type="parTrans" cxnId="{E2E621EC-B614-47FF-8AF6-F89CD59BCE02}">
      <dgm:prSet/>
      <dgm:spPr/>
      <dgm:t>
        <a:bodyPr/>
        <a:lstStyle/>
        <a:p>
          <a:endParaRPr lang="en-US"/>
        </a:p>
      </dgm:t>
    </dgm:pt>
    <dgm:pt modelId="{DC14E63D-CC15-48FA-935F-6F90FF62CCD0}" type="sibTrans" cxnId="{E2E621EC-B614-47FF-8AF6-F89CD59BCE02}">
      <dgm:prSet/>
      <dgm:spPr/>
      <dgm:t>
        <a:bodyPr/>
        <a:lstStyle/>
        <a:p>
          <a:endParaRPr lang="en-US"/>
        </a:p>
      </dgm:t>
    </dgm:pt>
    <dgm:pt modelId="{4588B87A-D73E-4444-886A-A38A1984B2A8}">
      <dgm:prSet phldrT="[Text]"/>
      <dgm:spPr/>
      <dgm:t>
        <a:bodyPr/>
        <a:lstStyle/>
        <a:p>
          <a:pPr>
            <a:buNone/>
          </a:pPr>
          <a:br>
            <a:rPr lang="en-US" dirty="0"/>
          </a:br>
          <a:endParaRPr lang="en-US" dirty="0"/>
        </a:p>
      </dgm:t>
    </dgm:pt>
    <dgm:pt modelId="{47B6EF0A-E15E-4763-A5A0-60AD67B5BE3E}" type="parTrans" cxnId="{AE51559C-36CB-4205-B6F5-18979D9F00E2}">
      <dgm:prSet/>
      <dgm:spPr/>
      <dgm:t>
        <a:bodyPr/>
        <a:lstStyle/>
        <a:p>
          <a:endParaRPr lang="en-US"/>
        </a:p>
      </dgm:t>
    </dgm:pt>
    <dgm:pt modelId="{D6BA0A29-F1CD-4A2B-AB65-148C16F4E47B}" type="sibTrans" cxnId="{AE51559C-36CB-4205-B6F5-18979D9F00E2}">
      <dgm:prSet/>
      <dgm:spPr/>
      <dgm:t>
        <a:bodyPr/>
        <a:lstStyle/>
        <a:p>
          <a:endParaRPr lang="en-US"/>
        </a:p>
      </dgm:t>
    </dgm:pt>
    <dgm:pt modelId="{11DDEE38-0B38-42DA-B179-7F0F540EEF69}">
      <dgm:prSet phldrT="[Text]"/>
      <dgm:spPr/>
      <dgm:t>
        <a:bodyPr/>
        <a:lstStyle/>
        <a:p>
          <a:pPr>
            <a:buNone/>
          </a:pPr>
          <a:br>
            <a:rPr lang="en-US" dirty="0"/>
          </a:br>
          <a:endParaRPr lang="en-US" dirty="0"/>
        </a:p>
      </dgm:t>
    </dgm:pt>
    <dgm:pt modelId="{6FAE3885-C6D6-47BF-84A0-BAD92A3D8CD5}" type="parTrans" cxnId="{C75FA50E-465C-486F-AE1A-B0E3DD57584D}">
      <dgm:prSet/>
      <dgm:spPr/>
      <dgm:t>
        <a:bodyPr/>
        <a:lstStyle/>
        <a:p>
          <a:endParaRPr lang="en-US"/>
        </a:p>
      </dgm:t>
    </dgm:pt>
    <dgm:pt modelId="{0D8D99C4-EC5B-4A2A-B8FB-6BE1440B0831}" type="sibTrans" cxnId="{C75FA50E-465C-486F-AE1A-B0E3DD57584D}">
      <dgm:prSet/>
      <dgm:spPr/>
      <dgm:t>
        <a:bodyPr/>
        <a:lstStyle/>
        <a:p>
          <a:endParaRPr lang="en-US"/>
        </a:p>
      </dgm:t>
    </dgm:pt>
    <dgm:pt modelId="{4BB6CBB8-FFAF-4BF3-9AA8-F5D54F876840}">
      <dgm:prSet phldrT="[Text]"/>
      <dgm:spPr/>
      <dgm:t>
        <a:bodyPr/>
        <a:lstStyle/>
        <a:p>
          <a:pPr>
            <a:buNone/>
          </a:pPr>
          <a:br>
            <a:rPr lang="en-US" dirty="0"/>
          </a:br>
          <a:endParaRPr lang="en-US" dirty="0"/>
        </a:p>
      </dgm:t>
    </dgm:pt>
    <dgm:pt modelId="{1A7D10F5-A2AF-4BC3-A302-C15C14DE16D4}" type="parTrans" cxnId="{6F3462D8-5030-415B-80A0-90C8E60BBECA}">
      <dgm:prSet/>
      <dgm:spPr/>
      <dgm:t>
        <a:bodyPr/>
        <a:lstStyle/>
        <a:p>
          <a:endParaRPr lang="en-US"/>
        </a:p>
      </dgm:t>
    </dgm:pt>
    <dgm:pt modelId="{23FCDCE0-952B-4BD6-AB63-7ECE5B800EB9}" type="sibTrans" cxnId="{6F3462D8-5030-415B-80A0-90C8E60BBECA}">
      <dgm:prSet/>
      <dgm:spPr/>
      <dgm:t>
        <a:bodyPr/>
        <a:lstStyle/>
        <a:p>
          <a:endParaRPr lang="en-US"/>
        </a:p>
      </dgm:t>
    </dgm:pt>
    <dgm:pt modelId="{80A0F21D-77BB-4F9A-870F-8A6285A9A746}">
      <dgm:prSet phldrT="[Text]"/>
      <dgm:spPr/>
      <dgm:t>
        <a:bodyPr/>
        <a:lstStyle/>
        <a:p>
          <a:pPr>
            <a:buNone/>
          </a:pPr>
          <a:br>
            <a:rPr lang="en-US" dirty="0"/>
          </a:br>
          <a:endParaRPr lang="en-US" dirty="0"/>
        </a:p>
      </dgm:t>
    </dgm:pt>
    <dgm:pt modelId="{BBE2F4FD-0FAF-4AAB-9C69-A34F7299D727}" type="parTrans" cxnId="{E3E0B5B4-90AD-4BEB-8B15-E9F3FCBD21BF}">
      <dgm:prSet/>
      <dgm:spPr/>
      <dgm:t>
        <a:bodyPr/>
        <a:lstStyle/>
        <a:p>
          <a:endParaRPr lang="en-US"/>
        </a:p>
      </dgm:t>
    </dgm:pt>
    <dgm:pt modelId="{76F9DCD2-DAA8-4DA3-BA41-19E043F80D5D}" type="sibTrans" cxnId="{E3E0B5B4-90AD-4BEB-8B15-E9F3FCBD21BF}">
      <dgm:prSet/>
      <dgm:spPr/>
      <dgm:t>
        <a:bodyPr/>
        <a:lstStyle/>
        <a:p>
          <a:endParaRPr lang="en-US"/>
        </a:p>
      </dgm:t>
    </dgm:pt>
    <dgm:pt modelId="{CE8685D8-0509-40A4-902C-1AD3753103F3}" type="pres">
      <dgm:prSet presAssocID="{0DF79D51-39A7-4F4A-A6BE-503B706B7A03}" presName="Name0" presStyleCnt="0">
        <dgm:presLayoutVars>
          <dgm:dir/>
          <dgm:animLvl val="lvl"/>
          <dgm:resizeHandles val="exact"/>
        </dgm:presLayoutVars>
      </dgm:prSet>
      <dgm:spPr/>
    </dgm:pt>
    <dgm:pt modelId="{E93EAE92-6650-4ECB-BBA1-F25D36E29CFC}" type="pres">
      <dgm:prSet presAssocID="{D741A449-E1AC-49CC-BE96-F061AB74A085}" presName="composite" presStyleCnt="0"/>
      <dgm:spPr/>
    </dgm:pt>
    <dgm:pt modelId="{98EC0B08-C9EA-4ECD-B10D-803776D253C6}" type="pres">
      <dgm:prSet presAssocID="{D741A449-E1AC-49CC-BE96-F061AB74A085}" presName="parTx" presStyleLbl="alignNode1" presStyleIdx="0" presStyleCnt="7">
        <dgm:presLayoutVars>
          <dgm:chMax val="0"/>
          <dgm:chPref val="0"/>
          <dgm:bulletEnabled val="1"/>
        </dgm:presLayoutVars>
      </dgm:prSet>
      <dgm:spPr/>
    </dgm:pt>
    <dgm:pt modelId="{2E8E4674-096C-4E13-8464-F2F9DA351E8B}" type="pres">
      <dgm:prSet presAssocID="{D741A449-E1AC-49CC-BE96-F061AB74A085}" presName="desTx" presStyleLbl="alignAccFollowNode1" presStyleIdx="0" presStyleCnt="7">
        <dgm:presLayoutVars>
          <dgm:bulletEnabled val="1"/>
        </dgm:presLayoutVars>
      </dgm:prSet>
      <dgm:spPr/>
    </dgm:pt>
    <dgm:pt modelId="{BFCCD8AC-A97B-42C3-9700-722F5D23A0C8}" type="pres">
      <dgm:prSet presAssocID="{02AFAA39-0F14-4D0D-B055-E4C4B676EB53}" presName="space" presStyleCnt="0"/>
      <dgm:spPr/>
    </dgm:pt>
    <dgm:pt modelId="{81F296FD-90B2-4A38-BB04-D028B3F41F78}" type="pres">
      <dgm:prSet presAssocID="{12BBB435-AD10-4C76-92F3-BEC21D6C69E9}" presName="composite" presStyleCnt="0"/>
      <dgm:spPr/>
    </dgm:pt>
    <dgm:pt modelId="{F5CD57BD-77A0-4E1E-B574-4F2C2E1AAEE1}" type="pres">
      <dgm:prSet presAssocID="{12BBB435-AD10-4C76-92F3-BEC21D6C69E9}" presName="parTx" presStyleLbl="alignNode1" presStyleIdx="1" presStyleCnt="7">
        <dgm:presLayoutVars>
          <dgm:chMax val="0"/>
          <dgm:chPref val="0"/>
          <dgm:bulletEnabled val="1"/>
        </dgm:presLayoutVars>
      </dgm:prSet>
      <dgm:spPr/>
    </dgm:pt>
    <dgm:pt modelId="{9CEE7B4E-726B-46C2-9FD3-2FE2445A7CC7}" type="pres">
      <dgm:prSet presAssocID="{12BBB435-AD10-4C76-92F3-BEC21D6C69E9}" presName="desTx" presStyleLbl="alignAccFollowNode1" presStyleIdx="1" presStyleCnt="7">
        <dgm:presLayoutVars>
          <dgm:bulletEnabled val="1"/>
        </dgm:presLayoutVars>
      </dgm:prSet>
      <dgm:spPr/>
    </dgm:pt>
    <dgm:pt modelId="{097F206C-C41B-47ED-A414-4D908870D20F}" type="pres">
      <dgm:prSet presAssocID="{2139E2D8-5432-4C64-960C-6B03EE32B398}" presName="space" presStyleCnt="0"/>
      <dgm:spPr/>
    </dgm:pt>
    <dgm:pt modelId="{3726BE5E-96F9-411B-B372-88F06B3312E8}" type="pres">
      <dgm:prSet presAssocID="{7D8073DB-BD95-4BE3-8120-27CEE47E6161}" presName="composite" presStyleCnt="0"/>
      <dgm:spPr/>
    </dgm:pt>
    <dgm:pt modelId="{3B3424F6-5CA8-40BB-B7DC-1FDED7DB4E5A}" type="pres">
      <dgm:prSet presAssocID="{7D8073DB-BD95-4BE3-8120-27CEE47E6161}" presName="parTx" presStyleLbl="alignNode1" presStyleIdx="2" presStyleCnt="7">
        <dgm:presLayoutVars>
          <dgm:chMax val="0"/>
          <dgm:chPref val="0"/>
          <dgm:bulletEnabled val="1"/>
        </dgm:presLayoutVars>
      </dgm:prSet>
      <dgm:spPr/>
    </dgm:pt>
    <dgm:pt modelId="{4EFCE49F-EA3E-45AB-BA9B-A82F524AF431}" type="pres">
      <dgm:prSet presAssocID="{7D8073DB-BD95-4BE3-8120-27CEE47E6161}" presName="desTx" presStyleLbl="alignAccFollowNode1" presStyleIdx="2" presStyleCnt="7">
        <dgm:presLayoutVars>
          <dgm:bulletEnabled val="1"/>
        </dgm:presLayoutVars>
      </dgm:prSet>
      <dgm:spPr/>
    </dgm:pt>
    <dgm:pt modelId="{ECDD4136-42B7-41ED-B487-C68CEE44D774}" type="pres">
      <dgm:prSet presAssocID="{316858D3-9E4A-4DFF-B63B-EAE7B4B226D4}" presName="space" presStyleCnt="0"/>
      <dgm:spPr/>
    </dgm:pt>
    <dgm:pt modelId="{B4F6CC0E-31D6-41EF-8F4A-206EB4D082F8}" type="pres">
      <dgm:prSet presAssocID="{E22C4548-396C-4909-8A86-918CAE36E964}" presName="composite" presStyleCnt="0"/>
      <dgm:spPr/>
    </dgm:pt>
    <dgm:pt modelId="{F5816FCD-C006-420B-922E-32F627870FD2}" type="pres">
      <dgm:prSet presAssocID="{E22C4548-396C-4909-8A86-918CAE36E964}" presName="parTx" presStyleLbl="alignNode1" presStyleIdx="3" presStyleCnt="7">
        <dgm:presLayoutVars>
          <dgm:chMax val="0"/>
          <dgm:chPref val="0"/>
          <dgm:bulletEnabled val="1"/>
        </dgm:presLayoutVars>
      </dgm:prSet>
      <dgm:spPr/>
    </dgm:pt>
    <dgm:pt modelId="{9FCAB823-E9B8-4388-9687-132E2D5F82D4}" type="pres">
      <dgm:prSet presAssocID="{E22C4548-396C-4909-8A86-918CAE36E964}" presName="desTx" presStyleLbl="alignAccFollowNode1" presStyleIdx="3" presStyleCnt="7">
        <dgm:presLayoutVars>
          <dgm:bulletEnabled val="1"/>
        </dgm:presLayoutVars>
      </dgm:prSet>
      <dgm:spPr/>
    </dgm:pt>
    <dgm:pt modelId="{8689F020-8506-45C6-90B9-5567E0909549}" type="pres">
      <dgm:prSet presAssocID="{0DBC7AF6-1FAC-4CE9-B0CD-3F03092C35E1}" presName="space" presStyleCnt="0"/>
      <dgm:spPr/>
    </dgm:pt>
    <dgm:pt modelId="{5F5E073F-732B-4D05-BF00-90DEEBC181DD}" type="pres">
      <dgm:prSet presAssocID="{A9C93312-2815-42C2-BD96-75A3978496D9}" presName="composite" presStyleCnt="0"/>
      <dgm:spPr/>
    </dgm:pt>
    <dgm:pt modelId="{2915E114-95E7-4F42-BCDC-019159FD053E}" type="pres">
      <dgm:prSet presAssocID="{A9C93312-2815-42C2-BD96-75A3978496D9}" presName="parTx" presStyleLbl="alignNode1" presStyleIdx="4" presStyleCnt="7">
        <dgm:presLayoutVars>
          <dgm:chMax val="0"/>
          <dgm:chPref val="0"/>
          <dgm:bulletEnabled val="1"/>
        </dgm:presLayoutVars>
      </dgm:prSet>
      <dgm:spPr/>
    </dgm:pt>
    <dgm:pt modelId="{FE086692-C035-475A-B620-5BEF6A8F491C}" type="pres">
      <dgm:prSet presAssocID="{A9C93312-2815-42C2-BD96-75A3978496D9}" presName="desTx" presStyleLbl="alignAccFollowNode1" presStyleIdx="4" presStyleCnt="7">
        <dgm:presLayoutVars>
          <dgm:bulletEnabled val="1"/>
        </dgm:presLayoutVars>
      </dgm:prSet>
      <dgm:spPr/>
    </dgm:pt>
    <dgm:pt modelId="{B3BDCECC-DB21-4490-8045-34B9873B3D82}" type="pres">
      <dgm:prSet presAssocID="{D6FA55A2-BF86-4A44-A81A-195473925E85}" presName="space" presStyleCnt="0"/>
      <dgm:spPr/>
    </dgm:pt>
    <dgm:pt modelId="{1E2D425C-B2E7-483C-A0AD-D8BAC8C294C8}" type="pres">
      <dgm:prSet presAssocID="{18268957-EC88-45AA-95B2-698C95CAC15C}" presName="composite" presStyleCnt="0"/>
      <dgm:spPr/>
    </dgm:pt>
    <dgm:pt modelId="{F39BABA7-7911-4514-9B3A-8E96B9F8066B}" type="pres">
      <dgm:prSet presAssocID="{18268957-EC88-45AA-95B2-698C95CAC15C}" presName="parTx" presStyleLbl="alignNode1" presStyleIdx="5" presStyleCnt="7">
        <dgm:presLayoutVars>
          <dgm:chMax val="0"/>
          <dgm:chPref val="0"/>
          <dgm:bulletEnabled val="1"/>
        </dgm:presLayoutVars>
      </dgm:prSet>
      <dgm:spPr/>
    </dgm:pt>
    <dgm:pt modelId="{37F06A0C-E099-42D4-84B4-018C32CF783A}" type="pres">
      <dgm:prSet presAssocID="{18268957-EC88-45AA-95B2-698C95CAC15C}" presName="desTx" presStyleLbl="alignAccFollowNode1" presStyleIdx="5" presStyleCnt="7">
        <dgm:presLayoutVars>
          <dgm:bulletEnabled val="1"/>
        </dgm:presLayoutVars>
      </dgm:prSet>
      <dgm:spPr/>
    </dgm:pt>
    <dgm:pt modelId="{C3E71150-9A4A-4D89-B41B-35BF5FD888A5}" type="pres">
      <dgm:prSet presAssocID="{FB148CB3-3CB8-4BA6-83A5-B65481BAC779}" presName="space" presStyleCnt="0"/>
      <dgm:spPr/>
    </dgm:pt>
    <dgm:pt modelId="{C96FB11D-374F-43EC-AC4D-9445FD60612F}" type="pres">
      <dgm:prSet presAssocID="{25592E19-C0C8-44FE-82D7-9365C07D44B4}" presName="composite" presStyleCnt="0"/>
      <dgm:spPr/>
    </dgm:pt>
    <dgm:pt modelId="{6EE9EC56-9E59-4C16-989D-0A99E2DED26D}" type="pres">
      <dgm:prSet presAssocID="{25592E19-C0C8-44FE-82D7-9365C07D44B4}" presName="parTx" presStyleLbl="alignNode1" presStyleIdx="6" presStyleCnt="7">
        <dgm:presLayoutVars>
          <dgm:chMax val="0"/>
          <dgm:chPref val="0"/>
          <dgm:bulletEnabled val="1"/>
        </dgm:presLayoutVars>
      </dgm:prSet>
      <dgm:spPr/>
    </dgm:pt>
    <dgm:pt modelId="{B1A15325-11A3-4941-92EC-ED8F3B411D4C}" type="pres">
      <dgm:prSet presAssocID="{25592E19-C0C8-44FE-82D7-9365C07D44B4}" presName="desTx" presStyleLbl="alignAccFollowNode1" presStyleIdx="6" presStyleCnt="7">
        <dgm:presLayoutVars>
          <dgm:bulletEnabled val="1"/>
        </dgm:presLayoutVars>
      </dgm:prSet>
      <dgm:spPr/>
    </dgm:pt>
  </dgm:ptLst>
  <dgm:cxnLst>
    <dgm:cxn modelId="{A2000D01-47AF-41B6-BE2C-72184403DA23}" srcId="{0DF79D51-39A7-4F4A-A6BE-503B706B7A03}" destId="{18268957-EC88-45AA-95B2-698C95CAC15C}" srcOrd="5" destOrd="0" parTransId="{339429E9-131F-4836-AFEE-46486708B6BB}" sibTransId="{FB148CB3-3CB8-4BA6-83A5-B65481BAC779}"/>
    <dgm:cxn modelId="{5C576705-1354-4E17-8AA2-0D354C225ED0}" type="presOf" srcId="{1C836D0E-DA36-4356-80B2-F7002F88F1D0}" destId="{9FCAB823-E9B8-4388-9687-132E2D5F82D4}" srcOrd="0" destOrd="0" presId="urn:microsoft.com/office/officeart/2005/8/layout/hList1"/>
    <dgm:cxn modelId="{C75FA50E-465C-486F-AE1A-B0E3DD57584D}" srcId="{A9C93312-2815-42C2-BD96-75A3978496D9}" destId="{11DDEE38-0B38-42DA-B179-7F0F540EEF69}" srcOrd="1" destOrd="0" parTransId="{6FAE3885-C6D6-47BF-84A0-BAD92A3D8CD5}" sibTransId="{0D8D99C4-EC5B-4A2A-B8FB-6BE1440B0831}"/>
    <dgm:cxn modelId="{28A0E712-4729-4AC3-B3DF-DBF544AE0B70}" type="presOf" srcId="{7D8073DB-BD95-4BE3-8120-27CEE47E6161}" destId="{3B3424F6-5CA8-40BB-B7DC-1FDED7DB4E5A}" srcOrd="0" destOrd="0" presId="urn:microsoft.com/office/officeart/2005/8/layout/hList1"/>
    <dgm:cxn modelId="{7EFECF16-EEBE-4319-91E9-47F53FDE8C30}" srcId="{18268957-EC88-45AA-95B2-698C95CAC15C}" destId="{EB0F7D47-816F-48A0-84F3-128E1322DFFD}" srcOrd="3" destOrd="0" parTransId="{ADAE6121-37A8-4A85-8C6F-1CD100B7235E}" sibTransId="{55529BF3-9CEC-4140-BE1E-E43E16F5AB1F}"/>
    <dgm:cxn modelId="{C949F118-C5EC-4136-8DBA-51C631FE2C66}" srcId="{A9C93312-2815-42C2-BD96-75A3978496D9}" destId="{ED75ABAB-3CE8-4692-B093-3A464D4A6A93}" srcOrd="0" destOrd="0" parTransId="{2FD42A3F-F34E-402E-BE2F-82504D5DD578}" sibTransId="{E844D76C-CB9D-44C7-9523-520C078B0C3B}"/>
    <dgm:cxn modelId="{3BCDD31A-96D4-42DB-90F9-AE417CB77D13}" srcId="{25592E19-C0C8-44FE-82D7-9365C07D44B4}" destId="{62C14358-16FA-4123-AFE1-63D3189162BE}" srcOrd="0" destOrd="0" parTransId="{192E833C-4C20-479A-856B-C797E25BF234}" sibTransId="{F2E17EFB-7044-4A6D-A7BC-D5F09A2C5AAB}"/>
    <dgm:cxn modelId="{37CFBE1D-E8F4-42B1-95FC-6CCA9DAF8767}" srcId="{0DF79D51-39A7-4F4A-A6BE-503B706B7A03}" destId="{7D8073DB-BD95-4BE3-8120-27CEE47E6161}" srcOrd="2" destOrd="0" parTransId="{B9C2A100-5D47-4026-8336-54210E6170E6}" sibTransId="{316858D3-9E4A-4DFF-B63B-EAE7B4B226D4}"/>
    <dgm:cxn modelId="{271F8D22-B07A-40F4-A486-9DA989D1A446}" type="presOf" srcId="{12BBB435-AD10-4C76-92F3-BEC21D6C69E9}" destId="{F5CD57BD-77A0-4E1E-B574-4F2C2E1AAEE1}" srcOrd="0" destOrd="0" presId="urn:microsoft.com/office/officeart/2005/8/layout/hList1"/>
    <dgm:cxn modelId="{C3F3B727-62BB-490D-B8AC-7A6616BFD022}" srcId="{12BBB435-AD10-4C76-92F3-BEC21D6C69E9}" destId="{1F7BA84D-09FE-4B2F-AABD-4EC71EBF07C5}" srcOrd="0" destOrd="0" parTransId="{7AC8336B-8786-4A82-A8FE-D407DA893C2B}" sibTransId="{77D45FDC-3E64-45B4-9A18-6BB79E65B3F5}"/>
    <dgm:cxn modelId="{47E7302B-D7C0-4BBE-9D65-92EDA4AFFCE4}" type="presOf" srcId="{178204CE-AA47-4F57-B483-465B6D5A78CE}" destId="{2E8E4674-096C-4E13-8464-F2F9DA351E8B}" srcOrd="0" destOrd="0" presId="urn:microsoft.com/office/officeart/2005/8/layout/hList1"/>
    <dgm:cxn modelId="{36782631-D6EC-47F4-9F59-186CFF54C62D}" type="presOf" srcId="{A7F525FD-DB3D-47EB-AD2D-CD8AA537B4D2}" destId="{4EFCE49F-EA3E-45AB-BA9B-A82F524AF431}" srcOrd="0" destOrd="0" presId="urn:microsoft.com/office/officeart/2005/8/layout/hList1"/>
    <dgm:cxn modelId="{1E017F31-9839-4838-9BF8-77735AE556AD}" srcId="{0DF79D51-39A7-4F4A-A6BE-503B706B7A03}" destId="{D741A449-E1AC-49CC-BE96-F061AB74A085}" srcOrd="0" destOrd="0" parTransId="{4DF01D25-6C5E-42E0-A803-9453D2EAF1F4}" sibTransId="{02AFAA39-0F14-4D0D-B055-E4C4B676EB53}"/>
    <dgm:cxn modelId="{89D49137-5815-425C-8733-DC5F5AB8F1F1}" srcId="{18268957-EC88-45AA-95B2-698C95CAC15C}" destId="{4F103319-1E1C-4493-911D-A03521F53239}" srcOrd="2" destOrd="0" parTransId="{4D34987C-687A-4093-B660-63617CF3F4BE}" sibTransId="{034DE825-1BD0-4542-94C8-886988E1FBC7}"/>
    <dgm:cxn modelId="{56B32B40-BCF9-44C1-A8DD-3240BA9402A6}" srcId="{12BBB435-AD10-4C76-92F3-BEC21D6C69E9}" destId="{659F89D5-EE67-4CB4-8CCA-3AC626396903}" srcOrd="2" destOrd="0" parTransId="{6FF30C88-3D4D-4DDE-BEA6-A3D9210D4489}" sibTransId="{09331F2D-169F-46D3-AFA1-AFCFC89A5837}"/>
    <dgm:cxn modelId="{0BADB45E-9CD4-4444-9669-52CF9C295AFD}" type="presOf" srcId="{A35B7C6C-8DDA-4406-AED8-3DF708C7CB79}" destId="{B1A15325-11A3-4941-92EC-ED8F3B411D4C}" srcOrd="0" destOrd="2" presId="urn:microsoft.com/office/officeart/2005/8/layout/hList1"/>
    <dgm:cxn modelId="{18B13B46-363D-445A-B92F-C9F07D09FF19}" type="presOf" srcId="{A9C93312-2815-42C2-BD96-75A3978496D9}" destId="{2915E114-95E7-4F42-BCDC-019159FD053E}" srcOrd="0" destOrd="0" presId="urn:microsoft.com/office/officeart/2005/8/layout/hList1"/>
    <dgm:cxn modelId="{10F8CC47-759C-47B8-852F-F2FA7DF3919F}" type="presOf" srcId="{ED75ABAB-3CE8-4692-B093-3A464D4A6A93}" destId="{FE086692-C035-475A-B620-5BEF6A8F491C}" srcOrd="0" destOrd="0" presId="urn:microsoft.com/office/officeart/2005/8/layout/hList1"/>
    <dgm:cxn modelId="{0F0CB349-1860-4828-94A1-B2808324D7BE}" srcId="{D741A449-E1AC-49CC-BE96-F061AB74A085}" destId="{5B6DAC54-8624-440B-BFC6-1F0CD04A28E5}" srcOrd="1" destOrd="0" parTransId="{F9D991E6-28C6-43B8-8EFF-015DFF3E6AF0}" sibTransId="{1A7DE380-72A4-451C-91E2-8DC8844E1B76}"/>
    <dgm:cxn modelId="{9DC4666B-CF5B-4F22-9EEC-0836A78B8873}" srcId="{7D8073DB-BD95-4BE3-8120-27CEE47E6161}" destId="{A7F525FD-DB3D-47EB-AD2D-CD8AA537B4D2}" srcOrd="0" destOrd="0" parTransId="{D6770B02-3075-4454-BDE4-5B020FB8858D}" sibTransId="{253235E8-F924-4C2E-A61C-B148AC901C75}"/>
    <dgm:cxn modelId="{FC2DAC6C-F7C9-4CFF-BF71-70BEAB119F06}" type="presOf" srcId="{62C14358-16FA-4123-AFE1-63D3189162BE}" destId="{B1A15325-11A3-4941-92EC-ED8F3B411D4C}" srcOrd="0" destOrd="0" presId="urn:microsoft.com/office/officeart/2005/8/layout/hList1"/>
    <dgm:cxn modelId="{22584E4D-B12F-45D7-A907-E59B8512FDCC}" type="presOf" srcId="{4BB6CBB8-FFAF-4BF3-9AA8-F5D54F876840}" destId="{37F06A0C-E099-42D4-84B4-018C32CF783A}" srcOrd="0" destOrd="1" presId="urn:microsoft.com/office/officeart/2005/8/layout/hList1"/>
    <dgm:cxn modelId="{FAE13051-0A82-4222-9A03-495BAFA4D422}" type="presOf" srcId="{E22C4548-396C-4909-8A86-918CAE36E964}" destId="{F5816FCD-C006-420B-922E-32F627870FD2}" srcOrd="0" destOrd="0" presId="urn:microsoft.com/office/officeart/2005/8/layout/hList1"/>
    <dgm:cxn modelId="{E7E38B71-F54A-4638-B597-A22B12510371}" type="presOf" srcId="{85469E66-7DD6-4AFE-B13D-EB916CBFDCCA}" destId="{4EFCE49F-EA3E-45AB-BA9B-A82F524AF431}" srcOrd="0" destOrd="2" presId="urn:microsoft.com/office/officeart/2005/8/layout/hList1"/>
    <dgm:cxn modelId="{BAA0B751-7D6D-4AEC-B002-6FB5572511A9}" type="presOf" srcId="{8F40F315-42B7-4045-AD80-CC9DB9C9121C}" destId="{FE086692-C035-475A-B620-5BEF6A8F491C}" srcOrd="0" destOrd="2" presId="urn:microsoft.com/office/officeart/2005/8/layout/hList1"/>
    <dgm:cxn modelId="{41D8C651-213D-4162-8C6A-CD9146C4CF2C}" srcId="{D741A449-E1AC-49CC-BE96-F061AB74A085}" destId="{178204CE-AA47-4F57-B483-465B6D5A78CE}" srcOrd="0" destOrd="0" parTransId="{AFD82673-4486-440C-8666-07688CA6713D}" sibTransId="{F26426F0-1F55-46E0-9A24-15AABF484B8C}"/>
    <dgm:cxn modelId="{CDAD5552-D42D-4AE8-A298-4A91ABC30C61}" type="presOf" srcId="{4588B87A-D73E-4444-886A-A38A1984B2A8}" destId="{9FCAB823-E9B8-4388-9687-132E2D5F82D4}" srcOrd="0" destOrd="1" presId="urn:microsoft.com/office/officeart/2005/8/layout/hList1"/>
    <dgm:cxn modelId="{538E3756-3A09-4702-AAF5-0C456B5DD917}" srcId="{18268957-EC88-45AA-95B2-698C95CAC15C}" destId="{F512CDDC-66B6-47BA-9A3D-538F3EAEED11}" srcOrd="0" destOrd="0" parTransId="{5389C837-EBA1-4886-8773-7CA6FF893F15}" sibTransId="{BD2DF7EF-1690-4934-A204-43DE8A2D6CF5}"/>
    <dgm:cxn modelId="{140A5876-C560-49C4-9C69-E4391B7F8C0A}" type="presOf" srcId="{25592E19-C0C8-44FE-82D7-9365C07D44B4}" destId="{6EE9EC56-9E59-4C16-989D-0A99E2DED26D}" srcOrd="0" destOrd="0" presId="urn:microsoft.com/office/officeart/2005/8/layout/hList1"/>
    <dgm:cxn modelId="{8316AB78-E2D5-4A8F-920C-54C894C4553E}" srcId="{A9C93312-2815-42C2-BD96-75A3978496D9}" destId="{8F40F315-42B7-4045-AD80-CC9DB9C9121C}" srcOrd="2" destOrd="0" parTransId="{CE89ADE9-8F96-4D65-9C02-F46E6733F332}" sibTransId="{0FA49AB8-63E1-40BF-AA3C-B645F5260C6F}"/>
    <dgm:cxn modelId="{4835247A-457C-41DC-8836-D32C640A9A21}" srcId="{0DF79D51-39A7-4F4A-A6BE-503B706B7A03}" destId="{A9C93312-2815-42C2-BD96-75A3978496D9}" srcOrd="4" destOrd="0" parTransId="{4DA4071E-1149-494D-A9F4-3D5CE3D1C05A}" sibTransId="{D6FA55A2-BF86-4A44-A81A-195473925E85}"/>
    <dgm:cxn modelId="{35119A7C-C9F5-469A-9DEA-1676D301FE49}" srcId="{0DF79D51-39A7-4F4A-A6BE-503B706B7A03}" destId="{12BBB435-AD10-4C76-92F3-BEC21D6C69E9}" srcOrd="1" destOrd="0" parTransId="{73585339-8C7A-4BE9-A595-A767AE3A64FA}" sibTransId="{2139E2D8-5432-4C64-960C-6B03EE32B398}"/>
    <dgm:cxn modelId="{4EBFD487-5E97-4A43-AEF5-B1A3EB31DDE4}" type="presOf" srcId="{D741A449-E1AC-49CC-BE96-F061AB74A085}" destId="{98EC0B08-C9EA-4ECD-B10D-803776D253C6}" srcOrd="0" destOrd="0" presId="urn:microsoft.com/office/officeart/2005/8/layout/hList1"/>
    <dgm:cxn modelId="{471D7893-7D71-46DE-8F9B-B21AA5B30162}" type="presOf" srcId="{F512CDDC-66B6-47BA-9A3D-538F3EAEED11}" destId="{37F06A0C-E099-42D4-84B4-018C32CF783A}" srcOrd="0" destOrd="0" presId="urn:microsoft.com/office/officeart/2005/8/layout/hList1"/>
    <dgm:cxn modelId="{CC0ED595-4D6F-4FF5-8DEE-873005024596}" type="presOf" srcId="{11DDEE38-0B38-42DA-B179-7F0F540EEF69}" destId="{FE086692-C035-475A-B620-5BEF6A8F491C}" srcOrd="0" destOrd="1" presId="urn:microsoft.com/office/officeart/2005/8/layout/hList1"/>
    <dgm:cxn modelId="{AE51559C-36CB-4205-B6F5-18979D9F00E2}" srcId="{E22C4548-396C-4909-8A86-918CAE36E964}" destId="{4588B87A-D73E-4444-886A-A38A1984B2A8}" srcOrd="1" destOrd="0" parTransId="{47B6EF0A-E15E-4763-A5A0-60AD67B5BE3E}" sibTransId="{D6BA0A29-F1CD-4A2B-AB65-148C16F4E47B}"/>
    <dgm:cxn modelId="{3B8C4F9D-4013-4630-8501-B76C041962C4}" type="presOf" srcId="{C051CB7A-E56C-49E1-9CD0-FC030106C08E}" destId="{B1A15325-11A3-4941-92EC-ED8F3B411D4C}" srcOrd="0" destOrd="3" presId="urn:microsoft.com/office/officeart/2005/8/layout/hList1"/>
    <dgm:cxn modelId="{FA00909D-01FD-4328-AF48-5D0A41F4F8BE}" srcId="{E22C4548-396C-4909-8A86-918CAE36E964}" destId="{1C836D0E-DA36-4356-80B2-F7002F88F1D0}" srcOrd="0" destOrd="0" parTransId="{C788A7B0-5503-4678-9F50-04AD22899771}" sibTransId="{3D2A2240-6D27-49A6-8820-AFFA110FC2CC}"/>
    <dgm:cxn modelId="{D29457A2-0071-407C-94DE-C38A54497E76}" type="presOf" srcId="{4F103319-1E1C-4493-911D-A03521F53239}" destId="{37F06A0C-E099-42D4-84B4-018C32CF783A}" srcOrd="0" destOrd="2" presId="urn:microsoft.com/office/officeart/2005/8/layout/hList1"/>
    <dgm:cxn modelId="{9CA1C5A2-4CD3-45B8-A6F3-3637380C3642}" srcId="{7D8073DB-BD95-4BE3-8120-27CEE47E6161}" destId="{85469E66-7DD6-4AFE-B13D-EB916CBFDCCA}" srcOrd="2" destOrd="0" parTransId="{D4E83A87-7FA8-4D8F-8F35-E2467013B8B6}" sibTransId="{FA77F1AD-2231-4691-952D-1868F1A86846}"/>
    <dgm:cxn modelId="{EFFD4FAF-DE69-4DC5-AF08-55E37FBB5C65}" type="presOf" srcId="{18268957-EC88-45AA-95B2-698C95CAC15C}" destId="{F39BABA7-7911-4514-9B3A-8E96B9F8066B}" srcOrd="0" destOrd="0" presId="urn:microsoft.com/office/officeart/2005/8/layout/hList1"/>
    <dgm:cxn modelId="{36AD8AB0-DBF3-41C5-89CE-FD0681F32AA6}" type="presOf" srcId="{2E4E101D-846D-440D-9F57-9CDBF94EC54E}" destId="{9FCAB823-E9B8-4388-9687-132E2D5F82D4}" srcOrd="0" destOrd="2" presId="urn:microsoft.com/office/officeart/2005/8/layout/hList1"/>
    <dgm:cxn modelId="{E3E0B5B4-90AD-4BEB-8B15-E9F3FCBD21BF}" srcId="{25592E19-C0C8-44FE-82D7-9365C07D44B4}" destId="{80A0F21D-77BB-4F9A-870F-8A6285A9A746}" srcOrd="1" destOrd="0" parTransId="{BBE2F4FD-0FAF-4AAB-9C69-A34F7299D727}" sibTransId="{76F9DCD2-DAA8-4DA3-BA41-19E043F80D5D}"/>
    <dgm:cxn modelId="{C46585BB-B53F-47F7-A1FC-C1F620C11D5A}" srcId="{25592E19-C0C8-44FE-82D7-9365C07D44B4}" destId="{C051CB7A-E56C-49E1-9CD0-FC030106C08E}" srcOrd="3" destOrd="0" parTransId="{C2DC107C-D843-45BD-8C2D-1F4271B27C06}" sibTransId="{487B8DAF-4CCC-4AB4-9E1A-7B3A09C6E443}"/>
    <dgm:cxn modelId="{DC1830C4-8392-4132-A365-6C59EC81AD83}" srcId="{12BBB435-AD10-4C76-92F3-BEC21D6C69E9}" destId="{07258F1A-77E0-45CD-8D83-099BE39E0BF8}" srcOrd="1" destOrd="0" parTransId="{B68F823F-3D86-4FC1-B367-2ECC168E77A9}" sibTransId="{5C933D15-5EF2-4B12-B533-F0F95D1451EC}"/>
    <dgm:cxn modelId="{EB296EC8-C09F-4F5D-9182-BEB7CB1196B9}" type="presOf" srcId="{80A0F21D-77BB-4F9A-870F-8A6285A9A746}" destId="{B1A15325-11A3-4941-92EC-ED8F3B411D4C}" srcOrd="0" destOrd="1" presId="urn:microsoft.com/office/officeart/2005/8/layout/hList1"/>
    <dgm:cxn modelId="{264741CA-120F-4FD3-A928-C36AF935B24A}" srcId="{0DF79D51-39A7-4F4A-A6BE-503B706B7A03}" destId="{25592E19-C0C8-44FE-82D7-9365C07D44B4}" srcOrd="6" destOrd="0" parTransId="{F2C0EE22-70DD-46C1-8741-17F0012A3C83}" sibTransId="{AC21B32C-3178-43B2-961F-E0EE67F074C5}"/>
    <dgm:cxn modelId="{51C193D0-3C95-46E1-8D47-9E34F487847A}" srcId="{25592E19-C0C8-44FE-82D7-9365C07D44B4}" destId="{A35B7C6C-8DDA-4406-AED8-3DF708C7CB79}" srcOrd="2" destOrd="0" parTransId="{1B62178E-7A9F-4E16-B94B-96C13A404363}" sibTransId="{C843EDFA-F3FA-48C1-BE87-D76C4054A903}"/>
    <dgm:cxn modelId="{0CF404D2-DFA0-46D3-82DE-53C80AE1B0FF}" type="presOf" srcId="{34ECCC44-CB90-471F-8CA1-958B49C7A05F}" destId="{4EFCE49F-EA3E-45AB-BA9B-A82F524AF431}" srcOrd="0" destOrd="1" presId="urn:microsoft.com/office/officeart/2005/8/layout/hList1"/>
    <dgm:cxn modelId="{6F3462D8-5030-415B-80A0-90C8E60BBECA}" srcId="{18268957-EC88-45AA-95B2-698C95CAC15C}" destId="{4BB6CBB8-FFAF-4BF3-9AA8-F5D54F876840}" srcOrd="1" destOrd="0" parTransId="{1A7D10F5-A2AF-4BC3-A302-C15C14DE16D4}" sibTransId="{23FCDCE0-952B-4BD6-AB63-7ECE5B800EB9}"/>
    <dgm:cxn modelId="{C43F84DD-3CAD-4DD0-863C-49458EB83C0B}" type="presOf" srcId="{07258F1A-77E0-45CD-8D83-099BE39E0BF8}" destId="{9CEE7B4E-726B-46C2-9FD3-2FE2445A7CC7}" srcOrd="0" destOrd="1" presId="urn:microsoft.com/office/officeart/2005/8/layout/hList1"/>
    <dgm:cxn modelId="{85750BE9-A479-460E-8BF4-D8505EE5AC75}" srcId="{0DF79D51-39A7-4F4A-A6BE-503B706B7A03}" destId="{E22C4548-396C-4909-8A86-918CAE36E964}" srcOrd="3" destOrd="0" parTransId="{C477DB5B-EDE1-4069-A726-838371BCBCE6}" sibTransId="{0DBC7AF6-1FAC-4CE9-B0CD-3F03092C35E1}"/>
    <dgm:cxn modelId="{65A996EA-90CD-4F4F-BCD3-E948834F6C2E}" type="presOf" srcId="{5B6DAC54-8624-440B-BFC6-1F0CD04A28E5}" destId="{2E8E4674-096C-4E13-8464-F2F9DA351E8B}" srcOrd="0" destOrd="1" presId="urn:microsoft.com/office/officeart/2005/8/layout/hList1"/>
    <dgm:cxn modelId="{2029D0EA-328A-4B24-9AF4-FDA6CCFB6E95}" type="presOf" srcId="{659F89D5-EE67-4CB4-8CCA-3AC626396903}" destId="{9CEE7B4E-726B-46C2-9FD3-2FE2445A7CC7}" srcOrd="0" destOrd="2" presId="urn:microsoft.com/office/officeart/2005/8/layout/hList1"/>
    <dgm:cxn modelId="{E2E621EC-B614-47FF-8AF6-F89CD59BCE02}" srcId="{7D8073DB-BD95-4BE3-8120-27CEE47E6161}" destId="{34ECCC44-CB90-471F-8CA1-958B49C7A05F}" srcOrd="1" destOrd="0" parTransId="{DD32B6F4-55B6-4E36-9CB5-63590CACB8F9}" sibTransId="{DC14E63D-CC15-48FA-935F-6F90FF62CCD0}"/>
    <dgm:cxn modelId="{03F38CEF-5711-420D-919B-692A59C9A9FA}" type="presOf" srcId="{0DF79D51-39A7-4F4A-A6BE-503B706B7A03}" destId="{CE8685D8-0509-40A4-902C-1AD3753103F3}" srcOrd="0" destOrd="0" presId="urn:microsoft.com/office/officeart/2005/8/layout/hList1"/>
    <dgm:cxn modelId="{A0C417F2-781E-4A6C-A0EE-68A5D6F94674}" srcId="{E22C4548-396C-4909-8A86-918CAE36E964}" destId="{2E4E101D-846D-440D-9F57-9CDBF94EC54E}" srcOrd="2" destOrd="0" parTransId="{3D94D16A-3F0E-4094-BD6A-7374446410C7}" sibTransId="{0BDEE07D-AA0A-4C8A-8B5B-D49D736F813E}"/>
    <dgm:cxn modelId="{C38485FC-8421-4A09-8225-41549E02DC08}" type="presOf" srcId="{EB0F7D47-816F-48A0-84F3-128E1322DFFD}" destId="{37F06A0C-E099-42D4-84B4-018C32CF783A}" srcOrd="0" destOrd="3" presId="urn:microsoft.com/office/officeart/2005/8/layout/hList1"/>
    <dgm:cxn modelId="{C8A44EFF-C575-40F2-89AD-48D5098FC013}" type="presOf" srcId="{1F7BA84D-09FE-4B2F-AABD-4EC71EBF07C5}" destId="{9CEE7B4E-726B-46C2-9FD3-2FE2445A7CC7}" srcOrd="0" destOrd="0" presId="urn:microsoft.com/office/officeart/2005/8/layout/hList1"/>
    <dgm:cxn modelId="{4D1A54FC-8326-4780-9738-A43EDFBCF033}" type="presParOf" srcId="{CE8685D8-0509-40A4-902C-1AD3753103F3}" destId="{E93EAE92-6650-4ECB-BBA1-F25D36E29CFC}" srcOrd="0" destOrd="0" presId="urn:microsoft.com/office/officeart/2005/8/layout/hList1"/>
    <dgm:cxn modelId="{A6396108-83B2-4A55-A98D-26CA9A2FE32F}" type="presParOf" srcId="{E93EAE92-6650-4ECB-BBA1-F25D36E29CFC}" destId="{98EC0B08-C9EA-4ECD-B10D-803776D253C6}" srcOrd="0" destOrd="0" presId="urn:microsoft.com/office/officeart/2005/8/layout/hList1"/>
    <dgm:cxn modelId="{9F7C40FC-E0FE-4365-A0EC-D077BA988E59}" type="presParOf" srcId="{E93EAE92-6650-4ECB-BBA1-F25D36E29CFC}" destId="{2E8E4674-096C-4E13-8464-F2F9DA351E8B}" srcOrd="1" destOrd="0" presId="urn:microsoft.com/office/officeart/2005/8/layout/hList1"/>
    <dgm:cxn modelId="{5A0FD05E-6B3D-42A0-ABD6-F5AB9290304E}" type="presParOf" srcId="{CE8685D8-0509-40A4-902C-1AD3753103F3}" destId="{BFCCD8AC-A97B-42C3-9700-722F5D23A0C8}" srcOrd="1" destOrd="0" presId="urn:microsoft.com/office/officeart/2005/8/layout/hList1"/>
    <dgm:cxn modelId="{3103F790-5427-48A9-AEE6-54E71A1EE24D}" type="presParOf" srcId="{CE8685D8-0509-40A4-902C-1AD3753103F3}" destId="{81F296FD-90B2-4A38-BB04-D028B3F41F78}" srcOrd="2" destOrd="0" presId="urn:microsoft.com/office/officeart/2005/8/layout/hList1"/>
    <dgm:cxn modelId="{EECF8EF5-4F3D-471A-9504-B8DC0472F610}" type="presParOf" srcId="{81F296FD-90B2-4A38-BB04-D028B3F41F78}" destId="{F5CD57BD-77A0-4E1E-B574-4F2C2E1AAEE1}" srcOrd="0" destOrd="0" presId="urn:microsoft.com/office/officeart/2005/8/layout/hList1"/>
    <dgm:cxn modelId="{A0A6C62D-E7A6-4736-97D2-94A13B682692}" type="presParOf" srcId="{81F296FD-90B2-4A38-BB04-D028B3F41F78}" destId="{9CEE7B4E-726B-46C2-9FD3-2FE2445A7CC7}" srcOrd="1" destOrd="0" presId="urn:microsoft.com/office/officeart/2005/8/layout/hList1"/>
    <dgm:cxn modelId="{C4F4077E-2974-4DBB-9F03-E676790B6B61}" type="presParOf" srcId="{CE8685D8-0509-40A4-902C-1AD3753103F3}" destId="{097F206C-C41B-47ED-A414-4D908870D20F}" srcOrd="3" destOrd="0" presId="urn:microsoft.com/office/officeart/2005/8/layout/hList1"/>
    <dgm:cxn modelId="{F64E3C7D-18AB-4A72-B9F5-5D75D92187B3}" type="presParOf" srcId="{CE8685D8-0509-40A4-902C-1AD3753103F3}" destId="{3726BE5E-96F9-411B-B372-88F06B3312E8}" srcOrd="4" destOrd="0" presId="urn:microsoft.com/office/officeart/2005/8/layout/hList1"/>
    <dgm:cxn modelId="{1B7867C8-6B2A-4F9D-B110-33E44DEAF687}" type="presParOf" srcId="{3726BE5E-96F9-411B-B372-88F06B3312E8}" destId="{3B3424F6-5CA8-40BB-B7DC-1FDED7DB4E5A}" srcOrd="0" destOrd="0" presId="urn:microsoft.com/office/officeart/2005/8/layout/hList1"/>
    <dgm:cxn modelId="{AF3C20AB-56EF-496A-B841-BD3708C7D7A3}" type="presParOf" srcId="{3726BE5E-96F9-411B-B372-88F06B3312E8}" destId="{4EFCE49F-EA3E-45AB-BA9B-A82F524AF431}" srcOrd="1" destOrd="0" presId="urn:microsoft.com/office/officeart/2005/8/layout/hList1"/>
    <dgm:cxn modelId="{02FFA796-3942-4AEC-B9BC-FFD437CE641F}" type="presParOf" srcId="{CE8685D8-0509-40A4-902C-1AD3753103F3}" destId="{ECDD4136-42B7-41ED-B487-C68CEE44D774}" srcOrd="5" destOrd="0" presId="urn:microsoft.com/office/officeart/2005/8/layout/hList1"/>
    <dgm:cxn modelId="{6AD59291-45BF-42CE-A991-B45DBB769598}" type="presParOf" srcId="{CE8685D8-0509-40A4-902C-1AD3753103F3}" destId="{B4F6CC0E-31D6-41EF-8F4A-206EB4D082F8}" srcOrd="6" destOrd="0" presId="urn:microsoft.com/office/officeart/2005/8/layout/hList1"/>
    <dgm:cxn modelId="{861EF1C6-DF62-4DB9-9AFD-E52DF87E4D16}" type="presParOf" srcId="{B4F6CC0E-31D6-41EF-8F4A-206EB4D082F8}" destId="{F5816FCD-C006-420B-922E-32F627870FD2}" srcOrd="0" destOrd="0" presId="urn:microsoft.com/office/officeart/2005/8/layout/hList1"/>
    <dgm:cxn modelId="{AF8A5EEA-B987-45A9-9417-78BE2DE9D9C7}" type="presParOf" srcId="{B4F6CC0E-31D6-41EF-8F4A-206EB4D082F8}" destId="{9FCAB823-E9B8-4388-9687-132E2D5F82D4}" srcOrd="1" destOrd="0" presId="urn:microsoft.com/office/officeart/2005/8/layout/hList1"/>
    <dgm:cxn modelId="{983DF631-6A63-4169-937F-DE4FA1A701CC}" type="presParOf" srcId="{CE8685D8-0509-40A4-902C-1AD3753103F3}" destId="{8689F020-8506-45C6-90B9-5567E0909549}" srcOrd="7" destOrd="0" presId="urn:microsoft.com/office/officeart/2005/8/layout/hList1"/>
    <dgm:cxn modelId="{557DE72C-50FD-4C7A-ABD0-C9E73276B608}" type="presParOf" srcId="{CE8685D8-0509-40A4-902C-1AD3753103F3}" destId="{5F5E073F-732B-4D05-BF00-90DEEBC181DD}" srcOrd="8" destOrd="0" presId="urn:microsoft.com/office/officeart/2005/8/layout/hList1"/>
    <dgm:cxn modelId="{0568A8BD-B30D-442A-8E17-81E678567F6D}" type="presParOf" srcId="{5F5E073F-732B-4D05-BF00-90DEEBC181DD}" destId="{2915E114-95E7-4F42-BCDC-019159FD053E}" srcOrd="0" destOrd="0" presId="urn:microsoft.com/office/officeart/2005/8/layout/hList1"/>
    <dgm:cxn modelId="{89ABAEB2-6CE1-499D-A1CB-3D10A2A77307}" type="presParOf" srcId="{5F5E073F-732B-4D05-BF00-90DEEBC181DD}" destId="{FE086692-C035-475A-B620-5BEF6A8F491C}" srcOrd="1" destOrd="0" presId="urn:microsoft.com/office/officeart/2005/8/layout/hList1"/>
    <dgm:cxn modelId="{7F30663E-EE44-4D25-9CA6-C68EBA699A8B}" type="presParOf" srcId="{CE8685D8-0509-40A4-902C-1AD3753103F3}" destId="{B3BDCECC-DB21-4490-8045-34B9873B3D82}" srcOrd="9" destOrd="0" presId="urn:microsoft.com/office/officeart/2005/8/layout/hList1"/>
    <dgm:cxn modelId="{C351B9FC-3A8F-4041-8579-AB6A3A3FEE4A}" type="presParOf" srcId="{CE8685D8-0509-40A4-902C-1AD3753103F3}" destId="{1E2D425C-B2E7-483C-A0AD-D8BAC8C294C8}" srcOrd="10" destOrd="0" presId="urn:microsoft.com/office/officeart/2005/8/layout/hList1"/>
    <dgm:cxn modelId="{BD25410B-ECD1-4E5B-9E49-BD39D79738DF}" type="presParOf" srcId="{1E2D425C-B2E7-483C-A0AD-D8BAC8C294C8}" destId="{F39BABA7-7911-4514-9B3A-8E96B9F8066B}" srcOrd="0" destOrd="0" presId="urn:microsoft.com/office/officeart/2005/8/layout/hList1"/>
    <dgm:cxn modelId="{E22DFB35-83EC-477C-81A1-48FDE06FF75A}" type="presParOf" srcId="{1E2D425C-B2E7-483C-A0AD-D8BAC8C294C8}" destId="{37F06A0C-E099-42D4-84B4-018C32CF783A}" srcOrd="1" destOrd="0" presId="urn:microsoft.com/office/officeart/2005/8/layout/hList1"/>
    <dgm:cxn modelId="{5002EC4E-DB14-4D67-84CE-65F3CEDF4379}" type="presParOf" srcId="{CE8685D8-0509-40A4-902C-1AD3753103F3}" destId="{C3E71150-9A4A-4D89-B41B-35BF5FD888A5}" srcOrd="11" destOrd="0" presId="urn:microsoft.com/office/officeart/2005/8/layout/hList1"/>
    <dgm:cxn modelId="{E7214683-BDF4-4DD7-AE72-C1978853F1F9}" type="presParOf" srcId="{CE8685D8-0509-40A4-902C-1AD3753103F3}" destId="{C96FB11D-374F-43EC-AC4D-9445FD60612F}" srcOrd="12" destOrd="0" presId="urn:microsoft.com/office/officeart/2005/8/layout/hList1"/>
    <dgm:cxn modelId="{E89B76AC-E97B-4DEA-B2B3-EA8557DC1546}" type="presParOf" srcId="{C96FB11D-374F-43EC-AC4D-9445FD60612F}" destId="{6EE9EC56-9E59-4C16-989D-0A99E2DED26D}" srcOrd="0" destOrd="0" presId="urn:microsoft.com/office/officeart/2005/8/layout/hList1"/>
    <dgm:cxn modelId="{3F0B64F2-C970-41AA-AA6C-C9964593FBB9}" type="presParOf" srcId="{C96FB11D-374F-43EC-AC4D-9445FD60612F}" destId="{B1A15325-11A3-4941-92EC-ED8F3B411D4C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AD8F505-6438-4F5D-B0F4-226AC32CC5AE}">
      <dsp:nvSpPr>
        <dsp:cNvPr id="0" name=""/>
        <dsp:cNvSpPr/>
      </dsp:nvSpPr>
      <dsp:spPr>
        <a:xfrm>
          <a:off x="3728" y="257055"/>
          <a:ext cx="1630332" cy="97819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tx1">
                <a:lumMod val="20000"/>
                <a:lumOff val="8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path path="circle">
            <a:fillToRect l="100000" t="100000" r="100000" b="100000"/>
          </a:path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i="0" kern="12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rPr>
            <a:t>Feb 2012</a:t>
          </a:r>
          <a:r>
            <a:rPr lang="en-US" sz="1200" b="1" i="0" kern="12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rPr>
            <a:t>: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i="0" kern="120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rPr>
            <a:t> Research Data Stewardship at UNC</a:t>
          </a:r>
        </a:p>
      </dsp:txBody>
      <dsp:txXfrm>
        <a:off x="32378" y="285705"/>
        <a:ext cx="1573032" cy="920899"/>
      </dsp:txXfrm>
    </dsp:sp>
    <dsp:sp modelId="{CD09D8D2-DC06-4CB4-83F0-019055FE5FBB}">
      <dsp:nvSpPr>
        <dsp:cNvPr id="0" name=""/>
        <dsp:cNvSpPr/>
      </dsp:nvSpPr>
      <dsp:spPr>
        <a:xfrm>
          <a:off x="1765367" y="517538"/>
          <a:ext cx="345630" cy="404322"/>
        </a:xfrm>
        <a:prstGeom prst="rightArrow">
          <a:avLst>
            <a:gd name="adj1" fmla="val 60000"/>
            <a:gd name="adj2" fmla="val 50000"/>
          </a:avLst>
        </a:prstGeom>
        <a:solidFill>
          <a:srgbClr val="0070C0"/>
        </a:solidFill>
        <a:ln>
          <a:solidFill>
            <a:srgbClr val="000000"/>
          </a:solidFill>
        </a:ln>
        <a:effectLst/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900" kern="1200"/>
        </a:p>
      </dsp:txBody>
      <dsp:txXfrm>
        <a:off x="1765367" y="598402"/>
        <a:ext cx="241941" cy="242594"/>
      </dsp:txXfrm>
    </dsp:sp>
    <dsp:sp modelId="{6607630C-3B71-4F32-A085-0FFE6A802C1B}">
      <dsp:nvSpPr>
        <dsp:cNvPr id="0" name=""/>
        <dsp:cNvSpPr/>
      </dsp:nvSpPr>
      <dsp:spPr>
        <a:xfrm>
          <a:off x="2286194" y="257055"/>
          <a:ext cx="1630332" cy="97819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83000"/>
                <a:satMod val="100000"/>
                <a:lumMod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61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i="0" kern="1200">
              <a:solidFill>
                <a:srgbClr val="C00000"/>
              </a:solidFill>
              <a:latin typeface="Arial" panose="020B0604020202020204" pitchFamily="34" charset="0"/>
            </a:rPr>
            <a:t>Apr 2014:</a:t>
          </a:r>
          <a:endParaRPr lang="en-US" sz="1200" b="1" i="0" kern="1200">
            <a:solidFill>
              <a:srgbClr val="C00000"/>
            </a:solidFill>
            <a:latin typeface="Arial" panose="020B0604020202020204" pitchFamily="34" charset="0"/>
          </a:endParaRP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i="0" kern="1200">
              <a:solidFill>
                <a:schemeClr val="accent2"/>
              </a:solidFill>
              <a:latin typeface="Arial" panose="020B0604020202020204" pitchFamily="34" charset="0"/>
            </a:rPr>
            <a:t>Faculty Working Group on Data Studies Curriculum</a:t>
          </a:r>
        </a:p>
      </dsp:txBody>
      <dsp:txXfrm>
        <a:off x="2314844" y="285705"/>
        <a:ext cx="1573032" cy="920899"/>
      </dsp:txXfrm>
    </dsp:sp>
    <dsp:sp modelId="{A162B103-1F41-4B68-A94D-1A9B8123F26B}">
      <dsp:nvSpPr>
        <dsp:cNvPr id="0" name=""/>
        <dsp:cNvSpPr/>
      </dsp:nvSpPr>
      <dsp:spPr>
        <a:xfrm>
          <a:off x="4047833" y="517538"/>
          <a:ext cx="345630" cy="404322"/>
        </a:xfrm>
        <a:prstGeom prst="rightArrow">
          <a:avLst>
            <a:gd name="adj1" fmla="val 60000"/>
            <a:gd name="adj2" fmla="val 50000"/>
          </a:avLst>
        </a:prstGeom>
        <a:solidFill>
          <a:srgbClr val="0070C0"/>
        </a:solidFill>
        <a:ln>
          <a:solidFill>
            <a:srgbClr val="000000"/>
          </a:solidFill>
        </a:ln>
        <a:effectLst/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900" kern="1200"/>
        </a:p>
      </dsp:txBody>
      <dsp:txXfrm>
        <a:off x="4047833" y="598402"/>
        <a:ext cx="241941" cy="242594"/>
      </dsp:txXfrm>
    </dsp:sp>
    <dsp:sp modelId="{78626198-D045-4D83-A56F-17F1AD8366F8}">
      <dsp:nvSpPr>
        <dsp:cNvPr id="0" name=""/>
        <dsp:cNvSpPr/>
      </dsp:nvSpPr>
      <dsp:spPr>
        <a:xfrm>
          <a:off x="4568660" y="257055"/>
          <a:ext cx="1630332" cy="97819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83000"/>
                <a:satMod val="100000"/>
                <a:lumMod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61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i="0" kern="1200">
              <a:solidFill>
                <a:srgbClr val="C00000"/>
              </a:solidFill>
              <a:latin typeface="Arial" panose="020B0604020202020204" pitchFamily="34" charset="0"/>
            </a:rPr>
            <a:t>May 2014:</a:t>
          </a:r>
          <a:endParaRPr lang="en-US" sz="1200" b="1" i="0" kern="1200">
            <a:solidFill>
              <a:srgbClr val="C00000"/>
            </a:solidFill>
            <a:latin typeface="Arial" panose="020B0604020202020204" pitchFamily="34" charset="0"/>
          </a:endParaRP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i="0" kern="1200">
              <a:solidFill>
                <a:schemeClr val="accent2"/>
              </a:solidFill>
              <a:latin typeface="Arial" panose="020B0604020202020204" pitchFamily="34" charset="0"/>
            </a:rPr>
            <a:t>Genomic Data Stewardship Taskforce</a:t>
          </a:r>
        </a:p>
      </dsp:txBody>
      <dsp:txXfrm>
        <a:off x="4597310" y="285705"/>
        <a:ext cx="1573032" cy="920899"/>
      </dsp:txXfrm>
    </dsp:sp>
    <dsp:sp modelId="{F07EC7D5-440B-43E4-AE9A-6CAF92060696}">
      <dsp:nvSpPr>
        <dsp:cNvPr id="0" name=""/>
        <dsp:cNvSpPr/>
      </dsp:nvSpPr>
      <dsp:spPr>
        <a:xfrm>
          <a:off x="6330299" y="517538"/>
          <a:ext cx="345630" cy="404322"/>
        </a:xfrm>
        <a:prstGeom prst="rightArrow">
          <a:avLst>
            <a:gd name="adj1" fmla="val 60000"/>
            <a:gd name="adj2" fmla="val 50000"/>
          </a:avLst>
        </a:prstGeom>
        <a:solidFill>
          <a:srgbClr val="0070C0"/>
        </a:solidFill>
        <a:ln>
          <a:solidFill>
            <a:srgbClr val="000000"/>
          </a:solidFill>
        </a:ln>
        <a:effectLst/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900" kern="1200"/>
        </a:p>
      </dsp:txBody>
      <dsp:txXfrm>
        <a:off x="6330299" y="598402"/>
        <a:ext cx="241941" cy="242594"/>
      </dsp:txXfrm>
    </dsp:sp>
    <dsp:sp modelId="{62EA0B8B-ECB4-4B91-BB61-1B7B0A95537C}">
      <dsp:nvSpPr>
        <dsp:cNvPr id="0" name=""/>
        <dsp:cNvSpPr/>
      </dsp:nvSpPr>
      <dsp:spPr>
        <a:xfrm>
          <a:off x="6851125" y="257055"/>
          <a:ext cx="1630332" cy="97819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83000"/>
                <a:satMod val="100000"/>
                <a:lumMod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61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i="0" kern="1200">
              <a:solidFill>
                <a:srgbClr val="C00000"/>
              </a:solidFill>
              <a:latin typeface="Arial" panose="020B0604020202020204" pitchFamily="34" charset="0"/>
            </a:rPr>
            <a:t>Aug 2015: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i="0" kern="1200" err="1">
              <a:solidFill>
                <a:schemeClr val="accent2"/>
              </a:solidFill>
              <a:latin typeface="Arial" panose="020B0604020202020204" pitchFamily="34" charset="0"/>
            </a:rPr>
            <a:t>Data@Carolina</a:t>
          </a:r>
          <a:r>
            <a:rPr lang="en-US" sz="1200" b="1" i="0" kern="1200">
              <a:solidFill>
                <a:schemeClr val="accent2"/>
              </a:solidFill>
              <a:latin typeface="Arial" panose="020B0604020202020204" pitchFamily="34" charset="0"/>
            </a:rPr>
            <a:t> Initiative</a:t>
          </a:r>
        </a:p>
      </dsp:txBody>
      <dsp:txXfrm>
        <a:off x="6879775" y="285705"/>
        <a:ext cx="1573032" cy="920899"/>
      </dsp:txXfrm>
    </dsp:sp>
    <dsp:sp modelId="{3C8B5CEC-AD45-4C97-80D9-5CAB7139D5E8}">
      <dsp:nvSpPr>
        <dsp:cNvPr id="0" name=""/>
        <dsp:cNvSpPr/>
      </dsp:nvSpPr>
      <dsp:spPr>
        <a:xfrm rot="5400000">
          <a:off x="7481313" y="1322923"/>
          <a:ext cx="345630" cy="404322"/>
        </a:xfrm>
        <a:prstGeom prst="rightArrow">
          <a:avLst>
            <a:gd name="adj1" fmla="val 60000"/>
            <a:gd name="adj2" fmla="val 50000"/>
          </a:avLst>
        </a:prstGeom>
        <a:solidFill>
          <a:srgbClr val="0070C0"/>
        </a:solidFill>
        <a:ln>
          <a:solidFill>
            <a:srgbClr val="000000"/>
          </a:solidFill>
        </a:ln>
        <a:effectLst/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900" kern="1200"/>
        </a:p>
      </dsp:txBody>
      <dsp:txXfrm rot="-5400000">
        <a:off x="7532832" y="1352269"/>
        <a:ext cx="242594" cy="241941"/>
      </dsp:txXfrm>
    </dsp:sp>
    <dsp:sp modelId="{E41A5ACF-C00C-4401-AC79-BAC82F252D6C}">
      <dsp:nvSpPr>
        <dsp:cNvPr id="0" name=""/>
        <dsp:cNvSpPr/>
      </dsp:nvSpPr>
      <dsp:spPr>
        <a:xfrm>
          <a:off x="6851125" y="1887387"/>
          <a:ext cx="1630332" cy="97819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83000"/>
                <a:satMod val="100000"/>
                <a:lumMod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61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i="0" kern="1200">
              <a:solidFill>
                <a:srgbClr val="C00000"/>
              </a:solidFill>
              <a:latin typeface="Arial" panose="020B0604020202020204" pitchFamily="34" charset="0"/>
            </a:rPr>
            <a:t>Nov 2017: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i="0" kern="1200">
              <a:solidFill>
                <a:schemeClr val="accent2"/>
              </a:solidFill>
              <a:latin typeface="Arial" panose="020B0604020202020204" pitchFamily="34" charset="0"/>
            </a:rPr>
            <a:t>Data Science Initiative</a:t>
          </a:r>
        </a:p>
      </dsp:txBody>
      <dsp:txXfrm>
        <a:off x="6879775" y="1916037"/>
        <a:ext cx="1573032" cy="920899"/>
      </dsp:txXfrm>
    </dsp:sp>
    <dsp:sp modelId="{2AE41721-AAE0-478E-9951-4704F4752F4B}">
      <dsp:nvSpPr>
        <dsp:cNvPr id="0" name=""/>
        <dsp:cNvSpPr/>
      </dsp:nvSpPr>
      <dsp:spPr>
        <a:xfrm rot="10800000">
          <a:off x="6349863" y="2147871"/>
          <a:ext cx="345630" cy="404322"/>
        </a:xfrm>
        <a:prstGeom prst="rightArrow">
          <a:avLst>
            <a:gd name="adj1" fmla="val 60000"/>
            <a:gd name="adj2" fmla="val 50000"/>
          </a:avLst>
        </a:prstGeom>
        <a:solidFill>
          <a:srgbClr val="0070C0"/>
        </a:solidFill>
        <a:ln>
          <a:solidFill>
            <a:srgbClr val="000000"/>
          </a:solidFill>
        </a:ln>
        <a:effectLst/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900" kern="1200"/>
        </a:p>
      </dsp:txBody>
      <dsp:txXfrm rot="10800000">
        <a:off x="6453552" y="2228735"/>
        <a:ext cx="241941" cy="242594"/>
      </dsp:txXfrm>
    </dsp:sp>
    <dsp:sp modelId="{D1FAC6B3-EE3A-4806-B467-AC0E5BCBF91D}">
      <dsp:nvSpPr>
        <dsp:cNvPr id="0" name=""/>
        <dsp:cNvSpPr/>
      </dsp:nvSpPr>
      <dsp:spPr>
        <a:xfrm>
          <a:off x="4568660" y="1887387"/>
          <a:ext cx="1630332" cy="97819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83000"/>
                <a:satMod val="100000"/>
                <a:lumMod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61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i="0" kern="1200">
              <a:solidFill>
                <a:srgbClr val="C00000"/>
              </a:solidFill>
              <a:latin typeface="Arial" panose="020B0604020202020204" pitchFamily="34" charset="0"/>
            </a:rPr>
            <a:t>Apr 2018:</a:t>
          </a:r>
          <a:r>
            <a:rPr lang="en-US" sz="1200" b="1" i="0" kern="1200">
              <a:solidFill>
                <a:schemeClr val="accent2"/>
              </a:solidFill>
              <a:latin typeface="Arial" panose="020B0604020202020204" pitchFamily="34" charset="0"/>
            </a:rPr>
            <a:t> 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i="0" kern="1200">
              <a:solidFill>
                <a:schemeClr val="accent2"/>
              </a:solidFill>
              <a:latin typeface="Arial" panose="020B0604020202020204" pitchFamily="34" charset="0"/>
            </a:rPr>
            <a:t>Data Science Institute</a:t>
          </a:r>
        </a:p>
      </dsp:txBody>
      <dsp:txXfrm>
        <a:off x="4597310" y="1916037"/>
        <a:ext cx="1573032" cy="920899"/>
      </dsp:txXfrm>
    </dsp:sp>
    <dsp:sp modelId="{2494B978-8B92-476D-8843-4FCD465B367B}">
      <dsp:nvSpPr>
        <dsp:cNvPr id="0" name=""/>
        <dsp:cNvSpPr/>
      </dsp:nvSpPr>
      <dsp:spPr>
        <a:xfrm rot="10800000">
          <a:off x="4067397" y="2147871"/>
          <a:ext cx="345630" cy="404322"/>
        </a:xfrm>
        <a:prstGeom prst="rightArrow">
          <a:avLst>
            <a:gd name="adj1" fmla="val 60000"/>
            <a:gd name="adj2" fmla="val 50000"/>
          </a:avLst>
        </a:prstGeom>
        <a:solidFill>
          <a:srgbClr val="0070C0"/>
        </a:solidFill>
        <a:ln>
          <a:solidFill>
            <a:srgbClr val="000000"/>
          </a:solidFill>
        </a:ln>
        <a:effectLst/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900" kern="1200"/>
        </a:p>
      </dsp:txBody>
      <dsp:txXfrm rot="10800000">
        <a:off x="4171086" y="2228735"/>
        <a:ext cx="241941" cy="242594"/>
      </dsp:txXfrm>
    </dsp:sp>
    <dsp:sp modelId="{74DAD745-7226-4DA6-8B73-0819234FA05A}">
      <dsp:nvSpPr>
        <dsp:cNvPr id="0" name=""/>
        <dsp:cNvSpPr/>
      </dsp:nvSpPr>
      <dsp:spPr>
        <a:xfrm>
          <a:off x="2286194" y="1887387"/>
          <a:ext cx="1630332" cy="97819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83000"/>
                <a:satMod val="100000"/>
                <a:lumMod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61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i="0" kern="1200">
              <a:solidFill>
                <a:srgbClr val="C00000"/>
              </a:solidFill>
              <a:latin typeface="Arial" panose="020B0604020202020204" pitchFamily="34" charset="0"/>
            </a:rPr>
            <a:t>Mar 2019:</a:t>
          </a:r>
          <a:endParaRPr lang="en-US" sz="1200" b="1" i="0" kern="1200">
            <a:solidFill>
              <a:srgbClr val="C00000"/>
            </a:solidFill>
            <a:latin typeface="Arial" panose="020B0604020202020204" pitchFamily="34" charset="0"/>
          </a:endParaRP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i="0" kern="1200">
              <a:solidFill>
                <a:schemeClr val="accent2"/>
              </a:solidFill>
              <a:latin typeface="Arial" panose="020B0604020202020204" pitchFamily="34" charset="0"/>
            </a:rPr>
            <a:t>Data Science School</a:t>
          </a:r>
        </a:p>
      </dsp:txBody>
      <dsp:txXfrm>
        <a:off x="2314844" y="1916037"/>
        <a:ext cx="1573032" cy="920899"/>
      </dsp:txXfrm>
    </dsp:sp>
    <dsp:sp modelId="{C11481A4-418A-4D0A-BF4E-07BF6B309249}">
      <dsp:nvSpPr>
        <dsp:cNvPr id="0" name=""/>
        <dsp:cNvSpPr/>
      </dsp:nvSpPr>
      <dsp:spPr>
        <a:xfrm rot="10800000">
          <a:off x="1797094" y="2174326"/>
          <a:ext cx="345630" cy="404322"/>
        </a:xfrm>
        <a:prstGeom prst="rightArrow">
          <a:avLst>
            <a:gd name="adj1" fmla="val 60000"/>
            <a:gd name="adj2" fmla="val 50000"/>
          </a:avLst>
        </a:prstGeom>
        <a:solidFill>
          <a:srgbClr val="0070C0"/>
        </a:solidFill>
        <a:ln>
          <a:solidFill>
            <a:srgbClr val="000000"/>
          </a:solidFill>
        </a:ln>
        <a:effectLst/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900" kern="1200"/>
        </a:p>
      </dsp:txBody>
      <dsp:txXfrm rot="10800000">
        <a:off x="1900783" y="2255190"/>
        <a:ext cx="241941" cy="242594"/>
      </dsp:txXfrm>
    </dsp:sp>
    <dsp:sp modelId="{FC91FB62-A79F-4735-B5E4-5EA6DC420DD7}">
      <dsp:nvSpPr>
        <dsp:cNvPr id="0" name=""/>
        <dsp:cNvSpPr/>
      </dsp:nvSpPr>
      <dsp:spPr>
        <a:xfrm>
          <a:off x="3728" y="1887387"/>
          <a:ext cx="1630332" cy="97819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83000"/>
                <a:satMod val="100000"/>
                <a:lumMod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61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i="0" kern="1200">
              <a:solidFill>
                <a:srgbClr val="C00000"/>
              </a:solidFill>
              <a:latin typeface="Arial" panose="020B0604020202020204" pitchFamily="34" charset="0"/>
            </a:rPr>
            <a:t>Feb 2020:</a:t>
          </a:r>
          <a:endParaRPr lang="en-US" sz="1200" b="1" i="0" kern="1200">
            <a:solidFill>
              <a:srgbClr val="C00000"/>
            </a:solidFill>
            <a:latin typeface="Arial" panose="020B0604020202020204" pitchFamily="34" charset="0"/>
          </a:endParaRP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i="0" kern="1200">
              <a:solidFill>
                <a:schemeClr val="accent2"/>
              </a:solidFill>
              <a:latin typeface="Arial" panose="020B0604020202020204" pitchFamily="34" charset="0"/>
            </a:rPr>
            <a:t>Draft Feasibility Plan for Implementation of School of Data Information and Society (SDIS)</a:t>
          </a:r>
        </a:p>
      </dsp:txBody>
      <dsp:txXfrm>
        <a:off x="32378" y="1916037"/>
        <a:ext cx="1573032" cy="920899"/>
      </dsp:txXfrm>
    </dsp:sp>
    <dsp:sp modelId="{1CC22E76-8F45-4118-9A10-D0A391D7CDF4}">
      <dsp:nvSpPr>
        <dsp:cNvPr id="0" name=""/>
        <dsp:cNvSpPr/>
      </dsp:nvSpPr>
      <dsp:spPr>
        <a:xfrm rot="5400000">
          <a:off x="646079" y="2979710"/>
          <a:ext cx="345630" cy="404322"/>
        </a:xfrm>
        <a:prstGeom prst="rightArrow">
          <a:avLst>
            <a:gd name="adj1" fmla="val 60000"/>
            <a:gd name="adj2" fmla="val 50000"/>
          </a:avLst>
        </a:prstGeom>
        <a:solidFill>
          <a:srgbClr val="0070C0"/>
        </a:solidFill>
        <a:ln>
          <a:solidFill>
            <a:srgbClr val="000000"/>
          </a:solidFill>
        </a:ln>
        <a:effectLst/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900" kern="1200"/>
        </a:p>
      </dsp:txBody>
      <dsp:txXfrm rot="-5400000">
        <a:off x="697598" y="3009056"/>
        <a:ext cx="242594" cy="241941"/>
      </dsp:txXfrm>
    </dsp:sp>
    <dsp:sp modelId="{054B5FC3-6E3D-4ABB-9AF4-893F61656B63}">
      <dsp:nvSpPr>
        <dsp:cNvPr id="0" name=""/>
        <dsp:cNvSpPr/>
      </dsp:nvSpPr>
      <dsp:spPr>
        <a:xfrm>
          <a:off x="3728" y="3517720"/>
          <a:ext cx="1630332" cy="97819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83000"/>
                <a:satMod val="100000"/>
                <a:lumMod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61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i="0" kern="1200">
              <a:solidFill>
                <a:srgbClr val="C00000"/>
              </a:solidFill>
              <a:latin typeface="Arial" panose="020B0604020202020204" pitchFamily="34" charset="0"/>
            </a:rPr>
            <a:t>Mar 2020: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i="0" kern="1200">
              <a:solidFill>
                <a:schemeClr val="accent2"/>
              </a:solidFill>
              <a:latin typeface="Arial" panose="020B0604020202020204" pitchFamily="34" charset="0"/>
            </a:rPr>
            <a:t>UNC-CH </a:t>
          </a:r>
          <a:r>
            <a:rPr lang="en-US" sz="1000" b="1" i="0" kern="1200" err="1">
              <a:solidFill>
                <a:schemeClr val="accent2"/>
              </a:solidFill>
              <a:latin typeface="Arial" panose="020B0604020202020204" pitchFamily="34" charset="0"/>
            </a:rPr>
            <a:t>BoT</a:t>
          </a:r>
          <a:r>
            <a:rPr lang="en-US" sz="1000" b="1" i="0" kern="1200">
              <a:solidFill>
                <a:schemeClr val="accent2"/>
              </a:solidFill>
              <a:latin typeface="Arial" panose="020B0604020202020204" pitchFamily="34" charset="0"/>
            </a:rPr>
            <a:t> endorses plan to launch a new School for Data Science</a:t>
          </a:r>
        </a:p>
      </dsp:txBody>
      <dsp:txXfrm>
        <a:off x="32378" y="3546370"/>
        <a:ext cx="1573032" cy="920899"/>
      </dsp:txXfrm>
    </dsp:sp>
    <dsp:sp modelId="{40792985-E5BB-4CF1-BDE2-8DF5B42F5C14}">
      <dsp:nvSpPr>
        <dsp:cNvPr id="0" name=""/>
        <dsp:cNvSpPr/>
      </dsp:nvSpPr>
      <dsp:spPr>
        <a:xfrm>
          <a:off x="1777530" y="3804658"/>
          <a:ext cx="345630" cy="404322"/>
        </a:xfrm>
        <a:prstGeom prst="rightArrow">
          <a:avLst>
            <a:gd name="adj1" fmla="val 60000"/>
            <a:gd name="adj2" fmla="val 50000"/>
          </a:avLst>
        </a:prstGeom>
        <a:solidFill>
          <a:srgbClr val="0070C0"/>
        </a:solidFill>
        <a:ln>
          <a:solidFill>
            <a:srgbClr val="000000"/>
          </a:solidFill>
        </a:ln>
        <a:effectLst/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900" kern="1200"/>
        </a:p>
      </dsp:txBody>
      <dsp:txXfrm>
        <a:off x="1777530" y="3885522"/>
        <a:ext cx="241941" cy="242594"/>
      </dsp:txXfrm>
    </dsp:sp>
    <dsp:sp modelId="{6F1E35C1-E09C-47B4-8880-05D8B3CF1A48}">
      <dsp:nvSpPr>
        <dsp:cNvPr id="0" name=""/>
        <dsp:cNvSpPr/>
      </dsp:nvSpPr>
      <dsp:spPr>
        <a:xfrm>
          <a:off x="2286194" y="3517720"/>
          <a:ext cx="1630332" cy="97819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83000"/>
                <a:satMod val="100000"/>
                <a:lumMod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61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1" i="0" kern="1200" dirty="0" err="1">
              <a:solidFill>
                <a:srgbClr val="C00000"/>
              </a:solidFill>
              <a:latin typeface="Arial" panose="020B0604020202020204" pitchFamily="34" charset="0"/>
            </a:rPr>
            <a:t>Dec</a:t>
          </a:r>
          <a:r>
            <a:rPr lang="fr-FR" sz="1400" b="1" i="0" kern="1200" dirty="0">
              <a:solidFill>
                <a:srgbClr val="C00000"/>
              </a:solidFill>
              <a:latin typeface="Arial" panose="020B0604020202020204" pitchFamily="34" charset="0"/>
            </a:rPr>
            <a:t> 2020:</a:t>
          </a:r>
          <a:endParaRPr lang="fr-FR" sz="1200" b="1" i="0" kern="1200" dirty="0">
            <a:solidFill>
              <a:srgbClr val="C00000"/>
            </a:solidFill>
            <a:latin typeface="Arial" panose="020B0604020202020204" pitchFamily="34" charset="0"/>
          </a:endParaRP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200" b="1" i="0" kern="1200" dirty="0">
              <a:solidFill>
                <a:schemeClr val="accent2"/>
              </a:solidFill>
              <a:latin typeface="Arial" panose="020B0604020202020204" pitchFamily="34" charset="0"/>
            </a:rPr>
            <a:t>SDIS Phase II Pre‐</a:t>
          </a:r>
          <a:r>
            <a:rPr lang="fr-FR" sz="1200" b="1" i="0" kern="1200" dirty="0" err="1">
              <a:solidFill>
                <a:schemeClr val="accent2"/>
              </a:solidFill>
              <a:latin typeface="Arial" panose="020B0604020202020204" pitchFamily="34" charset="0"/>
            </a:rPr>
            <a:t>Implementation</a:t>
          </a:r>
          <a:endParaRPr lang="en-US" sz="1200" b="1" i="0" kern="1200" dirty="0">
            <a:solidFill>
              <a:schemeClr val="accent2"/>
            </a:solidFill>
            <a:latin typeface="Arial" panose="020B0604020202020204" pitchFamily="34" charset="0"/>
          </a:endParaRPr>
        </a:p>
      </dsp:txBody>
      <dsp:txXfrm>
        <a:off x="2314844" y="3546370"/>
        <a:ext cx="1573032" cy="920899"/>
      </dsp:txXfrm>
    </dsp:sp>
    <dsp:sp modelId="{E6660159-855F-46A3-8E45-E80E9793F53C}">
      <dsp:nvSpPr>
        <dsp:cNvPr id="0" name=""/>
        <dsp:cNvSpPr/>
      </dsp:nvSpPr>
      <dsp:spPr>
        <a:xfrm>
          <a:off x="4059996" y="3804658"/>
          <a:ext cx="345630" cy="404322"/>
        </a:xfrm>
        <a:prstGeom prst="rightArrow">
          <a:avLst>
            <a:gd name="adj1" fmla="val 60000"/>
            <a:gd name="adj2" fmla="val 50000"/>
          </a:avLst>
        </a:prstGeom>
        <a:solidFill>
          <a:srgbClr val="0070C0"/>
        </a:solidFill>
        <a:ln>
          <a:solidFill>
            <a:srgbClr val="000000"/>
          </a:solidFill>
        </a:ln>
        <a:effectLst/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900" kern="1200"/>
        </a:p>
      </dsp:txBody>
      <dsp:txXfrm>
        <a:off x="4059996" y="3885522"/>
        <a:ext cx="241941" cy="242594"/>
      </dsp:txXfrm>
    </dsp:sp>
    <dsp:sp modelId="{BFC6B883-2DCA-4A48-BBC9-03D306C9B641}">
      <dsp:nvSpPr>
        <dsp:cNvPr id="0" name=""/>
        <dsp:cNvSpPr/>
      </dsp:nvSpPr>
      <dsp:spPr>
        <a:xfrm>
          <a:off x="4568660" y="3517720"/>
          <a:ext cx="1630332" cy="97819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83000"/>
                <a:satMod val="100000"/>
                <a:lumMod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61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1" i="0" kern="1200" dirty="0">
              <a:solidFill>
                <a:srgbClr val="C00000"/>
              </a:solidFill>
              <a:latin typeface="Arial" panose="020B0604020202020204" pitchFamily="34" charset="0"/>
            </a:rPr>
            <a:t>Mar 2021: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i="0" u="none" strike="noStrike" kern="1200" baseline="0" dirty="0">
              <a:solidFill>
                <a:schemeClr val="accent2"/>
              </a:solidFill>
              <a:latin typeface="Arial" panose="020B0604020202020204" pitchFamily="34" charset="0"/>
            </a:rPr>
            <a:t>Draft Plan for Launch and Implementation of a School of Data Science &amp; Society (SDSS)</a:t>
          </a:r>
          <a:endParaRPr lang="en-US" sz="1000" b="1" i="0" kern="1200" dirty="0">
            <a:solidFill>
              <a:schemeClr val="accent2"/>
            </a:solidFill>
            <a:latin typeface="Arial" panose="020B0604020202020204" pitchFamily="34" charset="0"/>
          </a:endParaRPr>
        </a:p>
      </dsp:txBody>
      <dsp:txXfrm>
        <a:off x="4597310" y="3546370"/>
        <a:ext cx="1573032" cy="920899"/>
      </dsp:txXfrm>
    </dsp:sp>
    <dsp:sp modelId="{3C37B4F9-CAEB-4AA7-B711-5545145796AF}">
      <dsp:nvSpPr>
        <dsp:cNvPr id="0" name=""/>
        <dsp:cNvSpPr/>
      </dsp:nvSpPr>
      <dsp:spPr>
        <a:xfrm>
          <a:off x="6342461" y="3804658"/>
          <a:ext cx="345630" cy="404322"/>
        </a:xfrm>
        <a:prstGeom prst="rightArrow">
          <a:avLst>
            <a:gd name="adj1" fmla="val 60000"/>
            <a:gd name="adj2" fmla="val 50000"/>
          </a:avLst>
        </a:prstGeom>
        <a:solidFill>
          <a:srgbClr val="0070C0"/>
        </a:solidFill>
        <a:ln>
          <a:solidFill>
            <a:srgbClr val="000000"/>
          </a:solidFill>
        </a:ln>
        <a:effectLst/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900" kern="1200"/>
        </a:p>
      </dsp:txBody>
      <dsp:txXfrm>
        <a:off x="6342461" y="3885522"/>
        <a:ext cx="241941" cy="242594"/>
      </dsp:txXfrm>
    </dsp:sp>
    <dsp:sp modelId="{61FFB089-7067-4FD4-BA70-81F1D137707F}">
      <dsp:nvSpPr>
        <dsp:cNvPr id="0" name=""/>
        <dsp:cNvSpPr/>
      </dsp:nvSpPr>
      <dsp:spPr>
        <a:xfrm>
          <a:off x="6851125" y="3517720"/>
          <a:ext cx="1630332" cy="97819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83000"/>
                <a:satMod val="100000"/>
                <a:lumMod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61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i="0" kern="1200" dirty="0">
              <a:solidFill>
                <a:srgbClr val="C00000"/>
              </a:solidFill>
              <a:latin typeface="Arial" panose="020B0604020202020204" pitchFamily="34" charset="0"/>
            </a:rPr>
            <a:t>2021 &amp; 2022: 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i="0" kern="1200" dirty="0">
              <a:solidFill>
                <a:schemeClr val="accent2"/>
              </a:solidFill>
              <a:latin typeface="Arial" panose="020B0604020202020204" pitchFamily="34" charset="0"/>
            </a:rPr>
            <a:t>SDSS design and implementation started</a:t>
          </a:r>
        </a:p>
      </dsp:txBody>
      <dsp:txXfrm>
        <a:off x="6879775" y="3546370"/>
        <a:ext cx="1573032" cy="92089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8EC0B08-C9EA-4ECD-B10D-803776D253C6}">
      <dsp:nvSpPr>
        <dsp:cNvPr id="0" name=""/>
        <dsp:cNvSpPr/>
      </dsp:nvSpPr>
      <dsp:spPr>
        <a:xfrm>
          <a:off x="5141" y="848871"/>
          <a:ext cx="1524878" cy="59338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Undergraduate Curriculum</a:t>
          </a:r>
        </a:p>
      </dsp:txBody>
      <dsp:txXfrm>
        <a:off x="5141" y="848871"/>
        <a:ext cx="1524878" cy="593389"/>
      </dsp:txXfrm>
    </dsp:sp>
    <dsp:sp modelId="{2E8E4674-096C-4E13-8464-F2F9DA351E8B}">
      <dsp:nvSpPr>
        <dsp:cNvPr id="0" name=""/>
        <dsp:cNvSpPr/>
      </dsp:nvSpPr>
      <dsp:spPr>
        <a:xfrm>
          <a:off x="5141" y="1442260"/>
          <a:ext cx="1524878" cy="190182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300" b="1" kern="1200" dirty="0"/>
            <a:t>CHAIR: </a:t>
          </a:r>
          <a:r>
            <a:rPr lang="en-US" sz="1300" kern="1200" dirty="0"/>
            <a:t>Rudi Colloredo-</a:t>
          </a:r>
          <a:r>
            <a:rPr lang="en-US" sz="1300" kern="1200" dirty="0" err="1"/>
            <a:t>Mansfeld</a:t>
          </a:r>
          <a:br>
            <a:rPr lang="en-US" sz="1300" kern="1200" dirty="0"/>
          </a:b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300" b="1" kern="1200" dirty="0"/>
            <a:t>STEERING COMMITTEE LIAISON: </a:t>
          </a:r>
          <a:r>
            <a:rPr lang="en-US" sz="1300" kern="1200" dirty="0"/>
            <a:t>Dan Anderson</a:t>
          </a:r>
        </a:p>
      </dsp:txBody>
      <dsp:txXfrm>
        <a:off x="5141" y="1442260"/>
        <a:ext cx="1524878" cy="1901820"/>
      </dsp:txXfrm>
    </dsp:sp>
    <dsp:sp modelId="{F5CD57BD-77A0-4E1E-B574-4F2C2E1AAEE1}">
      <dsp:nvSpPr>
        <dsp:cNvPr id="0" name=""/>
        <dsp:cNvSpPr/>
      </dsp:nvSpPr>
      <dsp:spPr>
        <a:xfrm>
          <a:off x="1743503" y="848871"/>
          <a:ext cx="1524878" cy="59338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Graduate Curriculum</a:t>
          </a:r>
        </a:p>
      </dsp:txBody>
      <dsp:txXfrm>
        <a:off x="1743503" y="848871"/>
        <a:ext cx="1524878" cy="593389"/>
      </dsp:txXfrm>
    </dsp:sp>
    <dsp:sp modelId="{9CEE7B4E-726B-46C2-9FD3-2FE2445A7CC7}">
      <dsp:nvSpPr>
        <dsp:cNvPr id="0" name=""/>
        <dsp:cNvSpPr/>
      </dsp:nvSpPr>
      <dsp:spPr>
        <a:xfrm>
          <a:off x="1743503" y="1442260"/>
          <a:ext cx="1524878" cy="190182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b="1" kern="1200" dirty="0"/>
            <a:t>CHAIR: </a:t>
          </a:r>
          <a:r>
            <a:rPr lang="en-US" sz="1300" kern="1200" dirty="0"/>
            <a:t>Tim </a:t>
          </a:r>
          <a:r>
            <a:rPr lang="en-US" sz="1300" kern="1200" dirty="0" err="1"/>
            <a:t>Elston</a:t>
          </a: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br>
            <a:rPr lang="en-US" sz="1300" kern="1200" dirty="0"/>
          </a:b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b="1" kern="1200" dirty="0"/>
            <a:t>STEERING COMMITTEE LIAISON: </a:t>
          </a:r>
          <a:r>
            <a:rPr lang="en-US" sz="1300" kern="1200" dirty="0"/>
            <a:t>Suzanne Barbour</a:t>
          </a:r>
        </a:p>
      </dsp:txBody>
      <dsp:txXfrm>
        <a:off x="1743503" y="1442260"/>
        <a:ext cx="1524878" cy="1901820"/>
      </dsp:txXfrm>
    </dsp:sp>
    <dsp:sp modelId="{3B3424F6-5CA8-40BB-B7DC-1FDED7DB4E5A}">
      <dsp:nvSpPr>
        <dsp:cNvPr id="0" name=""/>
        <dsp:cNvSpPr/>
      </dsp:nvSpPr>
      <dsp:spPr>
        <a:xfrm>
          <a:off x="3481865" y="848871"/>
          <a:ext cx="1524878" cy="59338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Research</a:t>
          </a:r>
        </a:p>
      </dsp:txBody>
      <dsp:txXfrm>
        <a:off x="3481865" y="848871"/>
        <a:ext cx="1524878" cy="593389"/>
      </dsp:txXfrm>
    </dsp:sp>
    <dsp:sp modelId="{4EFCE49F-EA3E-45AB-BA9B-A82F524AF431}">
      <dsp:nvSpPr>
        <dsp:cNvPr id="0" name=""/>
        <dsp:cNvSpPr/>
      </dsp:nvSpPr>
      <dsp:spPr>
        <a:xfrm>
          <a:off x="3481865" y="1442260"/>
          <a:ext cx="1524878" cy="190182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b="1" kern="1200" dirty="0"/>
            <a:t>CHAIR: </a:t>
          </a:r>
          <a:r>
            <a:rPr lang="en-US" sz="1300" kern="1200" dirty="0"/>
            <a:t>Michael </a:t>
          </a:r>
          <a:r>
            <a:rPr lang="en-US" sz="1300" kern="1200" dirty="0" err="1"/>
            <a:t>Kosorok</a:t>
          </a: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br>
            <a:rPr lang="en-US" sz="1300" kern="1200" dirty="0"/>
          </a:b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b="1" kern="1200" dirty="0"/>
            <a:t>STEERING COMMITTEE LIAISON: </a:t>
          </a:r>
          <a:r>
            <a:rPr lang="en-US" sz="1300" kern="1200" dirty="0"/>
            <a:t>Todd BenDor and Alex </a:t>
          </a:r>
          <a:r>
            <a:rPr lang="en-US" sz="1300" kern="1200" dirty="0" err="1"/>
            <a:t>Tropsha</a:t>
          </a:r>
          <a:endParaRPr lang="en-US" sz="1300" kern="1200" dirty="0"/>
        </a:p>
      </dsp:txBody>
      <dsp:txXfrm>
        <a:off x="3481865" y="1442260"/>
        <a:ext cx="1524878" cy="1901820"/>
      </dsp:txXfrm>
    </dsp:sp>
    <dsp:sp modelId="{F5816FCD-C006-420B-922E-32F627870FD2}">
      <dsp:nvSpPr>
        <dsp:cNvPr id="0" name=""/>
        <dsp:cNvSpPr/>
      </dsp:nvSpPr>
      <dsp:spPr>
        <a:xfrm>
          <a:off x="5220227" y="848871"/>
          <a:ext cx="1524878" cy="59338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Community Impact &amp; Civic Engagement</a:t>
          </a:r>
        </a:p>
      </dsp:txBody>
      <dsp:txXfrm>
        <a:off x="5220227" y="848871"/>
        <a:ext cx="1524878" cy="593389"/>
      </dsp:txXfrm>
    </dsp:sp>
    <dsp:sp modelId="{9FCAB823-E9B8-4388-9687-132E2D5F82D4}">
      <dsp:nvSpPr>
        <dsp:cNvPr id="0" name=""/>
        <dsp:cNvSpPr/>
      </dsp:nvSpPr>
      <dsp:spPr>
        <a:xfrm>
          <a:off x="5220227" y="1442260"/>
          <a:ext cx="1524878" cy="190182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b="1" kern="1200" dirty="0"/>
            <a:t>CHAIR: </a:t>
          </a:r>
          <a:r>
            <a:rPr lang="en-US" sz="1300" kern="1200" dirty="0"/>
            <a:t>Ryan Thornburg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br>
            <a:rPr lang="en-US" sz="1300" kern="1200" dirty="0"/>
          </a:b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b="1" kern="1200" dirty="0"/>
            <a:t>STEERING COMMITTEE LIAISON: </a:t>
          </a:r>
          <a:r>
            <a:rPr lang="en-US" sz="1300" kern="1200" dirty="0"/>
            <a:t>Joel Curran</a:t>
          </a:r>
        </a:p>
      </dsp:txBody>
      <dsp:txXfrm>
        <a:off x="5220227" y="1442260"/>
        <a:ext cx="1524878" cy="1901820"/>
      </dsp:txXfrm>
    </dsp:sp>
    <dsp:sp modelId="{2915E114-95E7-4F42-BCDC-019159FD053E}">
      <dsp:nvSpPr>
        <dsp:cNvPr id="0" name=""/>
        <dsp:cNvSpPr/>
      </dsp:nvSpPr>
      <dsp:spPr>
        <a:xfrm>
          <a:off x="6958588" y="848871"/>
          <a:ext cx="1524878" cy="59338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Physical Infrastructure</a:t>
          </a:r>
        </a:p>
      </dsp:txBody>
      <dsp:txXfrm>
        <a:off x="6958588" y="848871"/>
        <a:ext cx="1524878" cy="593389"/>
      </dsp:txXfrm>
    </dsp:sp>
    <dsp:sp modelId="{FE086692-C035-475A-B620-5BEF6A8F491C}">
      <dsp:nvSpPr>
        <dsp:cNvPr id="0" name=""/>
        <dsp:cNvSpPr/>
      </dsp:nvSpPr>
      <dsp:spPr>
        <a:xfrm>
          <a:off x="6958588" y="1442260"/>
          <a:ext cx="1524878" cy="190182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b="1" kern="1200" dirty="0"/>
            <a:t>CHAIR: </a:t>
          </a:r>
          <a:r>
            <a:rPr lang="en-US" sz="1300" kern="1200" dirty="0"/>
            <a:t>Scott Savage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br>
            <a:rPr lang="en-US" sz="1300" kern="1200" dirty="0"/>
          </a:b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b="1" kern="1200" dirty="0"/>
            <a:t>STEERING COMMITTEE LIAISON: </a:t>
          </a:r>
          <a:r>
            <a:rPr lang="en-US" sz="1300" kern="1200" dirty="0"/>
            <a:t>Elaine Westbrooks</a:t>
          </a:r>
          <a:br>
            <a:rPr lang="en-US" sz="1300" kern="1200" dirty="0"/>
          </a:br>
          <a:endParaRPr lang="en-US" sz="1300" kern="1200" dirty="0"/>
        </a:p>
      </dsp:txBody>
      <dsp:txXfrm>
        <a:off x="6958588" y="1442260"/>
        <a:ext cx="1524878" cy="1901820"/>
      </dsp:txXfrm>
    </dsp:sp>
    <dsp:sp modelId="{F39BABA7-7911-4514-9B3A-8E96B9F8066B}">
      <dsp:nvSpPr>
        <dsp:cNvPr id="0" name=""/>
        <dsp:cNvSpPr/>
      </dsp:nvSpPr>
      <dsp:spPr>
        <a:xfrm>
          <a:off x="8696950" y="848871"/>
          <a:ext cx="1524878" cy="59338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Finance &amp; Funding</a:t>
          </a:r>
        </a:p>
      </dsp:txBody>
      <dsp:txXfrm>
        <a:off x="8696950" y="848871"/>
        <a:ext cx="1524878" cy="593389"/>
      </dsp:txXfrm>
    </dsp:sp>
    <dsp:sp modelId="{37F06A0C-E099-42D4-84B4-018C32CF783A}">
      <dsp:nvSpPr>
        <dsp:cNvPr id="0" name=""/>
        <dsp:cNvSpPr/>
      </dsp:nvSpPr>
      <dsp:spPr>
        <a:xfrm>
          <a:off x="8696950" y="1442260"/>
          <a:ext cx="1524878" cy="190182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b="1" kern="1200" dirty="0"/>
            <a:t>CHAIR: </a:t>
          </a:r>
          <a:r>
            <a:rPr lang="en-US" sz="1300" kern="1200" dirty="0"/>
            <a:t>Jana Ready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br>
            <a:rPr lang="en-US" sz="1300" kern="1200" dirty="0"/>
          </a:b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b="1" kern="1200" dirty="0"/>
            <a:t>STEERING COMMITTEE LIAISON: </a:t>
          </a:r>
          <a:r>
            <a:rPr lang="en-US" sz="1300" kern="1200" dirty="0"/>
            <a:t>Nate Knuffman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300" kern="1200" dirty="0"/>
        </a:p>
      </dsp:txBody>
      <dsp:txXfrm>
        <a:off x="8696950" y="1442260"/>
        <a:ext cx="1524878" cy="1901820"/>
      </dsp:txXfrm>
    </dsp:sp>
    <dsp:sp modelId="{6EE9EC56-9E59-4C16-989D-0A99E2DED26D}">
      <dsp:nvSpPr>
        <dsp:cNvPr id="0" name=""/>
        <dsp:cNvSpPr/>
      </dsp:nvSpPr>
      <dsp:spPr>
        <a:xfrm>
          <a:off x="10435312" y="848871"/>
          <a:ext cx="1524878" cy="59338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tudent Services &amp; Staff Support</a:t>
          </a:r>
        </a:p>
      </dsp:txBody>
      <dsp:txXfrm>
        <a:off x="10435312" y="848871"/>
        <a:ext cx="1524878" cy="593389"/>
      </dsp:txXfrm>
    </dsp:sp>
    <dsp:sp modelId="{B1A15325-11A3-4941-92EC-ED8F3B411D4C}">
      <dsp:nvSpPr>
        <dsp:cNvPr id="0" name=""/>
        <dsp:cNvSpPr/>
      </dsp:nvSpPr>
      <dsp:spPr>
        <a:xfrm>
          <a:off x="10435312" y="1442260"/>
          <a:ext cx="1524878" cy="190182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b="1" kern="1200" dirty="0"/>
            <a:t>CHAIR: </a:t>
          </a:r>
          <a:r>
            <a:rPr lang="en-US" sz="1300" kern="1200" dirty="0"/>
            <a:t>Steve Farmer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br>
            <a:rPr lang="en-US" sz="1300" kern="1200" dirty="0"/>
          </a:b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b="1" kern="1200" dirty="0"/>
            <a:t>STEERING COMMITTEE LIAISON: </a:t>
          </a:r>
          <a:r>
            <a:rPr lang="en-US" sz="1300" kern="1200" dirty="0"/>
            <a:t>Chris Clemens and Andy Johns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300" kern="1200" dirty="0"/>
        </a:p>
      </dsp:txBody>
      <dsp:txXfrm>
        <a:off x="10435312" y="1442260"/>
        <a:ext cx="1524878" cy="190182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1391DD7-D9DD-4FE7-87BC-733850E1219C}" type="datetimeFigureOut">
              <a:rPr lang="en-US" smtClean="0"/>
              <a:t>2/16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CCFD55-D4FA-49C1-BCA7-4C9BA9A72C4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01950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b="1" dirty="0"/>
              <a:t>JAY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At least on record, we started talking about doing something in data science about a decade ago. </a:t>
            </a:r>
          </a:p>
          <a:p>
            <a:pPr marL="171450" lvl="0" indent="-171450">
              <a:buFontTx/>
              <a:buChar char="-"/>
            </a:pPr>
            <a:r>
              <a:rPr lang="en-US" dirty="0"/>
              <a:t>In 2012 we started with exploring how to manage data</a:t>
            </a:r>
          </a:p>
          <a:p>
            <a:pPr marL="171450" lvl="0" indent="-171450">
              <a:buFontTx/>
              <a:buChar char="-"/>
            </a:pPr>
            <a:r>
              <a:rPr lang="en-US" dirty="0"/>
              <a:t>In 2014, we recognized the need for data literacy for all undergraduates after doing a thorough study of our curricula in all disciplines.</a:t>
            </a:r>
          </a:p>
          <a:p>
            <a:pPr marL="171450" lvl="0" indent="-171450">
              <a:buFontTx/>
              <a:buChar char="-"/>
            </a:pPr>
            <a:r>
              <a:rPr lang="en-US" dirty="0"/>
              <a:t>Each of these boxes represents not just a committee of dedicated faculty and staff deliberating next steps, but also influencing the curriculum and research on campus. </a:t>
            </a:r>
          </a:p>
          <a:p>
            <a:pPr marL="171450" lvl="0" indent="-171450">
              <a:buFontTx/>
              <a:buChar char="-"/>
            </a:pPr>
            <a:r>
              <a:rPr lang="en-US" dirty="0"/>
              <a:t>In 2019-2020, the idea of the School was proposed. </a:t>
            </a:r>
          </a:p>
          <a:p>
            <a:pPr marL="171450" lvl="0" indent="-171450">
              <a:buFontTx/>
              <a:buChar char="-"/>
            </a:pPr>
            <a:r>
              <a:rPr lang="en-US" dirty="0"/>
              <a:t>And as some of you may recall,….  (next slide)</a:t>
            </a:r>
          </a:p>
          <a:p>
            <a:pPr marL="171450" lvl="0" indent="-171450">
              <a:buFontTx/>
              <a:buChar char="-"/>
            </a:pPr>
            <a:endParaRPr lang="en-US" dirty="0"/>
          </a:p>
          <a:p>
            <a:pPr lvl="0"/>
            <a:endParaRPr lang="en-US" dirty="0"/>
          </a:p>
          <a:p>
            <a:pPr lvl="0"/>
            <a:r>
              <a:rPr lang="en-US" dirty="0"/>
              <a:t>Message here is not that we have been talking forever but that we have a large set of faculty and researchers across various domains interested in the research, education, and service aspects of both the science of data and the applications of data science. </a:t>
            </a:r>
          </a:p>
          <a:p>
            <a:pPr lvl="0"/>
            <a:r>
              <a:rPr lang="en-US" dirty="0"/>
              <a:t>In the process, every School has faculty engaged in small and large data science projects but we do not have a School that will deliver the degree programs that our students are demanding.</a:t>
            </a:r>
          </a:p>
          <a:p>
            <a:pPr lvl="0"/>
            <a:r>
              <a:rPr lang="en-US" dirty="0"/>
              <a:t>Hence the School of Data Science and Society. 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Feb 2012 – Research Data Stewardship at UNC (Recommendations for Scholarly Practice and Leadership)</a:t>
            </a:r>
          </a:p>
          <a:p>
            <a:pPr lvl="0"/>
            <a:r>
              <a:rPr lang="en-US" dirty="0"/>
              <a:t>Apr 2014 - Faculty Working Group on Data Studies Curriculum (Developing Data Literate Students in Societal Context)</a:t>
            </a:r>
          </a:p>
          <a:p>
            <a:pPr lvl="0"/>
            <a:r>
              <a:rPr lang="en-US" dirty="0"/>
              <a:t>May 2014 - Genomic Data Stewardship Taskforce (Recommendations for the Stewardship of Genomic Data)</a:t>
            </a:r>
          </a:p>
          <a:p>
            <a:pPr lvl="0"/>
            <a:r>
              <a:rPr lang="en-US" dirty="0"/>
              <a:t>Aug 2015 - </a:t>
            </a:r>
            <a:r>
              <a:rPr lang="en-US" dirty="0" err="1"/>
              <a:t>Data@Carolina</a:t>
            </a:r>
            <a:r>
              <a:rPr lang="en-US" dirty="0"/>
              <a:t> Initiative (Funded 19 courses – </a:t>
            </a:r>
            <a:r>
              <a:rPr lang="en-US" dirty="0" err="1"/>
              <a:t>datafying</a:t>
            </a:r>
            <a:r>
              <a:rPr lang="en-US" dirty="0"/>
              <a:t> existing courses across campus; started work on PSM in Data Science)</a:t>
            </a:r>
          </a:p>
          <a:p>
            <a:pPr lvl="0"/>
            <a:r>
              <a:rPr lang="en-US" dirty="0"/>
              <a:t>Nov 2017 - Data Science Initiative (Recommended that UNC-CH launch a Data Science Institute after a detailed study of the national landscape)</a:t>
            </a:r>
          </a:p>
          <a:p>
            <a:pPr lvl="0"/>
            <a:r>
              <a:rPr lang="en-US" dirty="0"/>
              <a:t>Apr 2018 - Data Science Institute (Developed a plan for the launch and implementation of the Data Science Institute)</a:t>
            </a:r>
          </a:p>
          <a:p>
            <a:pPr lvl="0"/>
            <a:r>
              <a:rPr lang="en-US" dirty="0"/>
              <a:t>Mar 2019 – Data Science School (Recommended, with a high-level budget model, that UNC-CH launch a School of Data Science after a detailed study of the options for an academic unit for data science)</a:t>
            </a:r>
          </a:p>
          <a:p>
            <a:pPr lvl="0"/>
            <a:r>
              <a:rPr lang="en-US" dirty="0"/>
              <a:t>Feb 2020 - Draft Feasibility Plan for Implementation of School of Data Information and Society (SDIS) (100 faculty, staff, and students participated in the planning for the launch and implementation of a new School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Mar 2020 – UNC-CH </a:t>
            </a:r>
            <a:r>
              <a:rPr lang="en-US" dirty="0" err="1"/>
              <a:t>BoT</a:t>
            </a:r>
            <a:r>
              <a:rPr lang="en-US" dirty="0"/>
              <a:t> endorses plan to launch a new School for Data Science</a:t>
            </a:r>
          </a:p>
          <a:p>
            <a:pPr lvl="0"/>
            <a:r>
              <a:rPr lang="fr-FR" dirty="0" err="1"/>
              <a:t>Dec</a:t>
            </a:r>
            <a:r>
              <a:rPr lang="fr-FR" dirty="0"/>
              <a:t> 2020 – SDIS Phase II Pre‐</a:t>
            </a:r>
            <a:r>
              <a:rPr lang="fr-FR" dirty="0" err="1"/>
              <a:t>implementation</a:t>
            </a:r>
            <a:r>
              <a:rPr lang="fr-FR" dirty="0"/>
              <a:t> (15 </a:t>
            </a:r>
            <a:r>
              <a:rPr lang="fr-FR" dirty="0" err="1"/>
              <a:t>faculty</a:t>
            </a:r>
            <a:r>
              <a:rPr lang="fr-FR" dirty="0"/>
              <a:t> and staff </a:t>
            </a:r>
            <a:r>
              <a:rPr lang="fr-FR" dirty="0" err="1"/>
              <a:t>from</a:t>
            </a:r>
            <a:r>
              <a:rPr lang="fr-FR" dirty="0"/>
              <a:t> SILS, CS, and STOR </a:t>
            </a:r>
            <a:r>
              <a:rPr lang="fr-FR" dirty="0" err="1"/>
              <a:t>explored</a:t>
            </a:r>
            <a:r>
              <a:rPr lang="fr-FR" dirty="0"/>
              <a:t> the possibility of </a:t>
            </a:r>
            <a:r>
              <a:rPr lang="fr-FR" dirty="0" err="1"/>
              <a:t>merging</a:t>
            </a:r>
            <a:r>
              <a:rPr lang="fr-FR" dirty="0"/>
              <a:t> the </a:t>
            </a:r>
            <a:r>
              <a:rPr lang="fr-FR" dirty="0" err="1"/>
              <a:t>three</a:t>
            </a:r>
            <a:r>
              <a:rPr lang="fr-FR" dirty="0"/>
              <a:t> </a:t>
            </a:r>
            <a:r>
              <a:rPr lang="fr-FR" dirty="0" err="1"/>
              <a:t>units</a:t>
            </a:r>
            <a:r>
              <a:rPr lang="fr-FR" dirty="0"/>
              <a:t> to </a:t>
            </a:r>
            <a:r>
              <a:rPr lang="fr-FR" dirty="0" err="1"/>
              <a:t>form</a:t>
            </a:r>
            <a:r>
              <a:rPr lang="fr-FR" dirty="0"/>
              <a:t> the </a:t>
            </a:r>
            <a:r>
              <a:rPr lang="fr-FR" dirty="0" err="1"/>
              <a:t>school</a:t>
            </a:r>
            <a:r>
              <a:rPr lang="fr-FR" dirty="0"/>
              <a:t>)</a:t>
            </a:r>
          </a:p>
          <a:p>
            <a:pPr algn="l"/>
            <a:r>
              <a:rPr lang="fr-FR" dirty="0"/>
              <a:t>Mar 2021 - </a:t>
            </a:r>
            <a:r>
              <a:rPr lang="en-US" sz="1800" b="0" i="0" u="none" strike="noStrike" baseline="0" dirty="0">
                <a:latin typeface="Calibri-Bold"/>
              </a:rPr>
              <a:t>Draft Plan for the Launch and Implementation of a School of Data Science and Society</a:t>
            </a:r>
            <a:r>
              <a:rPr lang="fr-FR" b="0" dirty="0"/>
              <a:t> – </a:t>
            </a:r>
            <a:r>
              <a:rPr lang="fr-FR" b="0" dirty="0" err="1"/>
              <a:t>Submitted</a:t>
            </a:r>
            <a:r>
              <a:rPr lang="fr-FR" b="0" dirty="0"/>
              <a:t> to the Chancellor</a:t>
            </a:r>
          </a:p>
          <a:p>
            <a:pPr algn="l"/>
            <a:endParaRPr lang="en-US" dirty="0"/>
          </a:p>
          <a:p>
            <a:pPr marL="171450" indent="-171450">
              <a:spcAft>
                <a:spcPts val="600"/>
              </a:spcAft>
              <a:buFont typeface="Wingdings,Sans-Serif"/>
              <a:buChar char="Ø"/>
            </a:pPr>
            <a:r>
              <a:rPr lang="en-US" dirty="0"/>
              <a:t>Several committees have since studied and reported on the following possibilities at UNC-CH: a research institute, degree programs without a DS department, academic department in the College, virtual school, transforming an existing school, merging units to form a new school, …</a:t>
            </a:r>
            <a:endParaRPr lang="en-US" dirty="0">
              <a:cs typeface="Calibri"/>
            </a:endParaRPr>
          </a:p>
          <a:p>
            <a:pPr marL="171450" indent="-171450">
              <a:spcAft>
                <a:spcPts val="600"/>
              </a:spcAft>
              <a:buFont typeface="Wingdings,Sans-Serif"/>
              <a:buChar char="Ø"/>
            </a:pPr>
            <a:r>
              <a:rPr lang="en-US" dirty="0"/>
              <a:t>The vision and plan for the School of Data Science and Society (SDSS) had emerged and evolved through all these informative discussions</a:t>
            </a:r>
            <a:endParaRPr lang="en-US" dirty="0">
              <a:cs typeface="Calibri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9C993E-BEB6-6C41-8CFE-173E70C9E0E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47414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Oval 5"/>
          <p:cNvSpPr/>
          <p:nvPr/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800"/>
            </a:lvl4pPr>
            <a:lvl5pPr marL="1828800" indent="0" algn="ctr">
              <a:buNone/>
              <a:defRPr sz="1800"/>
            </a:lvl5pPr>
            <a:lvl6pPr marL="2286000" indent="0" algn="ctr">
              <a:buNone/>
              <a:defRPr sz="1800"/>
            </a:lvl6pPr>
            <a:lvl7pPr marL="2743200" indent="0" algn="ctr">
              <a:buNone/>
              <a:defRPr sz="1800"/>
            </a:lvl7pPr>
            <a:lvl8pPr marL="3200400" indent="0" algn="ctr">
              <a:buNone/>
              <a:defRPr sz="1800"/>
            </a:lvl8pPr>
            <a:lvl9pPr marL="3657600" indent="0" algn="ctr">
              <a:buNone/>
              <a:defRPr sz="18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/>
            </a:lvl1pPr>
          </a:lstStyle>
          <a:p>
            <a:fld id="{450E0D8B-26FC-428E-ADC3-EC88DAB80388}" type="datetimeFigureOut">
              <a:rPr lang="en-US" smtClean="0"/>
              <a:t>2/1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97F78-548B-4681-B957-8ED525B0707B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5579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E0D8B-26FC-428E-ADC3-EC88DAB80388}" type="datetimeFigureOut">
              <a:rPr lang="en-US" smtClean="0"/>
              <a:t>2/1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97F78-548B-4681-B957-8ED525B0707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869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762000"/>
            <a:ext cx="2628900" cy="5410200"/>
          </a:xfrm>
        </p:spPr>
        <p:txBody>
          <a:bodyPr vert="eaVert" lIns="45720" tIns="91440" rIns="45720" bIns="9144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1" y="762000"/>
            <a:ext cx="7581900" cy="54102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E0D8B-26FC-428E-ADC3-EC88DAB80388}" type="datetimeFigureOut">
              <a:rPr lang="en-US" smtClean="0"/>
              <a:t>2/1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97F78-548B-4681-B957-8ED525B0707B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 rot="5400000" flipV="1">
            <a:off x="10058400" y="59263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15506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384" y="1347789"/>
            <a:ext cx="11312627" cy="47532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247011" y="6452179"/>
            <a:ext cx="508000" cy="250147"/>
          </a:xfrm>
          <a:prstGeom prst="rect">
            <a:avLst/>
          </a:prstGeom>
        </p:spPr>
        <p:txBody>
          <a:bodyPr/>
          <a:lstStyle>
            <a:lvl1pPr algn="r">
              <a:defRPr sz="1000"/>
            </a:lvl1pPr>
          </a:lstStyle>
          <a:p>
            <a:fld id="{263E268E-DA18-874E-8CBA-6F80F366F28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219372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A76296-2E82-471D-A613-C7194FAED18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B2B899D0-D38D-41AA-BFC5-6B9A40D2209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33259" y="271815"/>
            <a:ext cx="9711588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  <a:endParaRPr lang="en-US" noProof="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3ED1BFA-FCEC-4B8F-93B9-5CD822A31CB1}"/>
              </a:ext>
            </a:extLst>
          </p:cNvPr>
          <p:cNvSpPr txBox="1"/>
          <p:nvPr userDrawn="1"/>
        </p:nvSpPr>
        <p:spPr>
          <a:xfrm>
            <a:off x="120650" y="6519446"/>
            <a:ext cx="329769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rgbClr val="4B9CD3"/>
                </a:solidFill>
              </a:rPr>
              <a:t>Data Science @ Carolina Initiative</a:t>
            </a:r>
          </a:p>
        </p:txBody>
      </p:sp>
    </p:spTree>
    <p:extLst>
      <p:ext uri="{BB962C8B-B14F-4D97-AF65-F5344CB8AC3E}">
        <p14:creationId xmlns:p14="http://schemas.microsoft.com/office/powerpoint/2010/main" val="2668079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BB85BD-51C8-483F-AEBA-2AC85C733B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6"/>
          <p:cNvSpPr>
            <a:spLocks noGrp="1"/>
          </p:cNvSpPr>
          <p:nvPr>
            <p:ph sz="quarter" idx="10"/>
          </p:nvPr>
        </p:nvSpPr>
        <p:spPr>
          <a:xfrm>
            <a:off x="583931" y="1425265"/>
            <a:ext cx="5058113" cy="432880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6A4226F-E477-4131-B320-49F87815B072}"/>
              </a:ext>
            </a:extLst>
          </p:cNvPr>
          <p:cNvSpPr txBox="1"/>
          <p:nvPr userDrawn="1"/>
        </p:nvSpPr>
        <p:spPr>
          <a:xfrm>
            <a:off x="120650" y="6519446"/>
            <a:ext cx="329769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rgbClr val="4B9CD3"/>
                </a:solidFill>
              </a:rPr>
              <a:t>Data Science @ Carolina Initiative</a:t>
            </a:r>
          </a:p>
        </p:txBody>
      </p:sp>
    </p:spTree>
    <p:extLst>
      <p:ext uri="{BB962C8B-B14F-4D97-AF65-F5344CB8AC3E}">
        <p14:creationId xmlns:p14="http://schemas.microsoft.com/office/powerpoint/2010/main" val="4739828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BB85BD-51C8-483F-AEBA-2AC85C733B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6"/>
          <p:cNvSpPr>
            <a:spLocks noGrp="1"/>
          </p:cNvSpPr>
          <p:nvPr>
            <p:ph sz="quarter" idx="10"/>
          </p:nvPr>
        </p:nvSpPr>
        <p:spPr>
          <a:xfrm>
            <a:off x="583931" y="1425265"/>
            <a:ext cx="5058113" cy="432880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6A4226F-E477-4131-B320-49F87815B072}"/>
              </a:ext>
            </a:extLst>
          </p:cNvPr>
          <p:cNvSpPr txBox="1"/>
          <p:nvPr userDrawn="1"/>
        </p:nvSpPr>
        <p:spPr>
          <a:xfrm>
            <a:off x="120650" y="6519446"/>
            <a:ext cx="329769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rgbClr val="4B9CD3"/>
                </a:solidFill>
              </a:rPr>
              <a:t>Data Science @ Carolina Initiative</a:t>
            </a:r>
          </a:p>
        </p:txBody>
      </p:sp>
    </p:spTree>
    <p:extLst>
      <p:ext uri="{BB962C8B-B14F-4D97-AF65-F5344CB8AC3E}">
        <p14:creationId xmlns:p14="http://schemas.microsoft.com/office/powerpoint/2010/main" val="92326745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BB85BD-51C8-483F-AEBA-2AC85C733B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6"/>
          <p:cNvSpPr>
            <a:spLocks noGrp="1"/>
          </p:cNvSpPr>
          <p:nvPr>
            <p:ph sz="quarter" idx="10"/>
          </p:nvPr>
        </p:nvSpPr>
        <p:spPr>
          <a:xfrm>
            <a:off x="583931" y="1425265"/>
            <a:ext cx="5058113" cy="432880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6A4226F-E477-4131-B320-49F87815B072}"/>
              </a:ext>
            </a:extLst>
          </p:cNvPr>
          <p:cNvSpPr txBox="1"/>
          <p:nvPr userDrawn="1"/>
        </p:nvSpPr>
        <p:spPr>
          <a:xfrm>
            <a:off x="120650" y="6519446"/>
            <a:ext cx="329769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rgbClr val="4B9CD3"/>
                </a:solidFill>
              </a:rPr>
              <a:t>Data Science @ Carolina Initiative</a:t>
            </a:r>
          </a:p>
        </p:txBody>
      </p:sp>
    </p:spTree>
    <p:extLst>
      <p:ext uri="{BB962C8B-B14F-4D97-AF65-F5344CB8AC3E}">
        <p14:creationId xmlns:p14="http://schemas.microsoft.com/office/powerpoint/2010/main" val="367325626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BB85BD-51C8-483F-AEBA-2AC85C733B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6"/>
          <p:cNvSpPr>
            <a:spLocks noGrp="1"/>
          </p:cNvSpPr>
          <p:nvPr>
            <p:ph sz="quarter" idx="10"/>
          </p:nvPr>
        </p:nvSpPr>
        <p:spPr>
          <a:xfrm>
            <a:off x="583931" y="1425265"/>
            <a:ext cx="5058113" cy="432880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6A4226F-E477-4131-B320-49F87815B072}"/>
              </a:ext>
            </a:extLst>
          </p:cNvPr>
          <p:cNvSpPr txBox="1"/>
          <p:nvPr userDrawn="1"/>
        </p:nvSpPr>
        <p:spPr>
          <a:xfrm>
            <a:off x="120650" y="6519446"/>
            <a:ext cx="329769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rgbClr val="4B9CD3"/>
                </a:solidFill>
              </a:rPr>
              <a:t>Data Science @ Carolina Initiative</a:t>
            </a:r>
          </a:p>
        </p:txBody>
      </p:sp>
    </p:spTree>
    <p:extLst>
      <p:ext uri="{BB962C8B-B14F-4D97-AF65-F5344CB8AC3E}">
        <p14:creationId xmlns:p14="http://schemas.microsoft.com/office/powerpoint/2010/main" val="202527352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BB85BD-51C8-483F-AEBA-2AC85C733B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6"/>
          <p:cNvSpPr>
            <a:spLocks noGrp="1"/>
          </p:cNvSpPr>
          <p:nvPr>
            <p:ph sz="quarter" idx="10"/>
          </p:nvPr>
        </p:nvSpPr>
        <p:spPr>
          <a:xfrm>
            <a:off x="583931" y="1425265"/>
            <a:ext cx="5058113" cy="432880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6A4226F-E477-4131-B320-49F87815B072}"/>
              </a:ext>
            </a:extLst>
          </p:cNvPr>
          <p:cNvSpPr txBox="1"/>
          <p:nvPr userDrawn="1"/>
        </p:nvSpPr>
        <p:spPr>
          <a:xfrm>
            <a:off x="120650" y="6519446"/>
            <a:ext cx="329769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rgbClr val="4B9CD3"/>
                </a:solidFill>
              </a:rPr>
              <a:t>Data Science @ Carolina Initiative</a:t>
            </a:r>
          </a:p>
        </p:txBody>
      </p:sp>
    </p:spTree>
    <p:extLst>
      <p:ext uri="{BB962C8B-B14F-4D97-AF65-F5344CB8AC3E}">
        <p14:creationId xmlns:p14="http://schemas.microsoft.com/office/powerpoint/2010/main" val="9881264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BB85BD-51C8-483F-AEBA-2AC85C733B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6"/>
          <p:cNvSpPr>
            <a:spLocks noGrp="1"/>
          </p:cNvSpPr>
          <p:nvPr>
            <p:ph sz="quarter" idx="10"/>
          </p:nvPr>
        </p:nvSpPr>
        <p:spPr>
          <a:xfrm>
            <a:off x="583931" y="1425265"/>
            <a:ext cx="5058113" cy="432880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6A4226F-E477-4131-B320-49F87815B072}"/>
              </a:ext>
            </a:extLst>
          </p:cNvPr>
          <p:cNvSpPr txBox="1"/>
          <p:nvPr userDrawn="1"/>
        </p:nvSpPr>
        <p:spPr>
          <a:xfrm>
            <a:off x="120650" y="6519446"/>
            <a:ext cx="329769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rgbClr val="4B9CD3"/>
                </a:solidFill>
              </a:rPr>
              <a:t>Data Science @ Carolina Initiative</a:t>
            </a:r>
          </a:p>
        </p:txBody>
      </p:sp>
    </p:spTree>
    <p:extLst>
      <p:ext uri="{BB962C8B-B14F-4D97-AF65-F5344CB8AC3E}">
        <p14:creationId xmlns:p14="http://schemas.microsoft.com/office/powerpoint/2010/main" val="17950830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E0D8B-26FC-428E-ADC3-EC88DAB80388}" type="datetimeFigureOut">
              <a:rPr lang="en-US" smtClean="0"/>
              <a:t>2/1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97F78-548B-4681-B957-8ED525B0707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107598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BB85BD-51C8-483F-AEBA-2AC85C733B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6"/>
          <p:cNvSpPr>
            <a:spLocks noGrp="1"/>
          </p:cNvSpPr>
          <p:nvPr>
            <p:ph sz="quarter" idx="10"/>
          </p:nvPr>
        </p:nvSpPr>
        <p:spPr>
          <a:xfrm>
            <a:off x="583931" y="1425265"/>
            <a:ext cx="5058113" cy="432880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6A4226F-E477-4131-B320-49F87815B072}"/>
              </a:ext>
            </a:extLst>
          </p:cNvPr>
          <p:cNvSpPr txBox="1"/>
          <p:nvPr userDrawn="1"/>
        </p:nvSpPr>
        <p:spPr>
          <a:xfrm>
            <a:off x="120650" y="6519446"/>
            <a:ext cx="329769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rgbClr val="4B9CD3"/>
                </a:solidFill>
              </a:rPr>
              <a:t>Data Science @ Carolina Initiative</a:t>
            </a:r>
          </a:p>
        </p:txBody>
      </p:sp>
    </p:spTree>
    <p:extLst>
      <p:ext uri="{BB962C8B-B14F-4D97-AF65-F5344CB8AC3E}">
        <p14:creationId xmlns:p14="http://schemas.microsoft.com/office/powerpoint/2010/main" val="32459755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Oval 5"/>
          <p:cNvSpPr/>
          <p:nvPr/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b="0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E0D8B-26FC-428E-ADC3-EC88DAB80388}" type="datetimeFigureOut">
              <a:rPr lang="en-US" smtClean="0"/>
              <a:t>2/1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97F78-548B-4681-B957-8ED525B0707B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68319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24127" y="2286000"/>
            <a:ext cx="475488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89320" y="2286000"/>
            <a:ext cx="475488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E0D8B-26FC-428E-ADC3-EC88DAB80388}" type="datetimeFigureOut">
              <a:rPr lang="en-US" smtClean="0"/>
              <a:t>2/16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97F78-548B-4681-B957-8ED525B0707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16527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8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300" b="0" cap="none" baseline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24128" y="2967788"/>
            <a:ext cx="4754880" cy="33415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990888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2300" b="0" kern="1200" cap="none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990888" y="2967788"/>
            <a:ext cx="4754880" cy="33415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E0D8B-26FC-428E-ADC3-EC88DAB80388}" type="datetimeFigureOut">
              <a:rPr lang="en-US" smtClean="0"/>
              <a:t>2/16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97F78-548B-4681-B957-8ED525B0707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73963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E0D8B-26FC-428E-ADC3-EC88DAB80388}" type="datetimeFigureOut">
              <a:rPr lang="en-US" smtClean="0"/>
              <a:t>2/16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97F78-548B-4681-B957-8ED525B0707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0640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E0D8B-26FC-428E-ADC3-EC88DAB80388}" type="datetimeFigureOut">
              <a:rPr lang="en-US" smtClean="0"/>
              <a:t>2/16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97F78-548B-4681-B957-8ED525B0707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6557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24128" y="471509"/>
            <a:ext cx="4389120" cy="173736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000" y="822960"/>
            <a:ext cx="5678424" cy="518464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24128" y="2257506"/>
            <a:ext cx="4389120" cy="3762294"/>
          </a:xfrm>
        </p:spPr>
        <p:txBody>
          <a:bodyPr lIns="91440" rIns="91440">
            <a:normAutofit/>
          </a:bodyPr>
          <a:lstStyle>
            <a:lvl1pPr marL="0" indent="0">
              <a:lnSpc>
                <a:spcPct val="108000"/>
              </a:lnSpc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E0D8B-26FC-428E-ADC3-EC88DAB80388}" type="datetimeFigureOut">
              <a:rPr lang="en-US" smtClean="0"/>
              <a:t>2/16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97F78-548B-4681-B957-8ED525B0707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00721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8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-1"/>
            <a:ext cx="12188952" cy="4572000"/>
          </a:xfrm>
          <a:solidFill>
            <a:schemeClr val="accent1">
              <a:lumMod val="60000"/>
              <a:lumOff val="40000"/>
            </a:schemeClr>
          </a:solidFill>
        </p:spPr>
        <p:txBody>
          <a:bodyPr lIns="457200" tIns="365760" rIns="45720" bIns="4572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10600" y="4960138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E0D8B-26FC-428E-ADC3-EC88DAB80388}" type="datetimeFigureOut">
              <a:rPr lang="en-US" smtClean="0"/>
              <a:t>2/16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497F78-548B-4681-B957-8ED525B0707B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70621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8" y="2286000"/>
            <a:ext cx="9720073" cy="4023360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24129" y="6470704"/>
            <a:ext cx="2154143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450E0D8B-26FC-428E-ADC3-EC88DAB80388}" type="datetimeFigureOut">
              <a:rPr lang="en-US" smtClean="0"/>
              <a:t>2/1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42932" y="6470704"/>
            <a:ext cx="5901459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cap="all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37333" y="6470704"/>
            <a:ext cx="973667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9E497F78-548B-4681-B957-8ED525B0707B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762000" y="826324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480242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  <p:sldLayoutId id="2147483689" r:id="rId15"/>
    <p:sldLayoutId id="2147483690" r:id="rId16"/>
    <p:sldLayoutId id="2147483691" r:id="rId17"/>
    <p:sldLayoutId id="2147483692" r:id="rId18"/>
    <p:sldLayoutId id="2147483693" r:id="rId19"/>
    <p:sldLayoutId id="2147483694" r:id="rId20"/>
  </p:sldLayoutIdLst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5000" kern="1200" cap="all" spc="100" baseline="0">
          <a:solidFill>
            <a:schemeClr val="tx1">
              <a:lumMod val="95000"/>
              <a:lumOff val="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Tw Cen MT" panose="020B0602020104020603" pitchFamily="34" charset="0"/>
        <a:buChar char=" 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26517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480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7724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60704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16152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3624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543982-DFAC-25BE-9A32-ECD34B11D8A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ata Science at Carolina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B91918F-175B-D7D3-2F0D-B6C8E289ADE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Snapshot: Feb 17, 2023 for FC</a:t>
            </a:r>
          </a:p>
        </p:txBody>
      </p:sp>
    </p:spTree>
    <p:extLst>
      <p:ext uri="{BB962C8B-B14F-4D97-AF65-F5344CB8AC3E}">
        <p14:creationId xmlns:p14="http://schemas.microsoft.com/office/powerpoint/2010/main" val="243470094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C56828-D679-494D-82EC-D374B394B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9" y="3068"/>
            <a:ext cx="9711588" cy="1046440"/>
          </a:xfrm>
        </p:spPr>
        <p:txBody>
          <a:bodyPr>
            <a:normAutofit fontScale="90000"/>
          </a:bodyPr>
          <a:lstStyle/>
          <a:p>
            <a:r>
              <a:rPr lang="en-US" dirty="0"/>
              <a:t>Student Services and Staff Subcommittee</a:t>
            </a:r>
            <a:br>
              <a:rPr lang="en-US" dirty="0"/>
            </a:br>
            <a:r>
              <a:rPr lang="en-US" sz="1400" b="1" dirty="0"/>
              <a:t>CHAIR: </a:t>
            </a:r>
            <a:r>
              <a:rPr lang="en-US" sz="1400" dirty="0"/>
              <a:t>Steve Farmer</a:t>
            </a:r>
            <a:br>
              <a:rPr lang="en-US" sz="1400" dirty="0"/>
            </a:br>
            <a:r>
              <a:rPr lang="en-US" sz="1400" b="1" dirty="0"/>
              <a:t>STEERING COMMITTEE LIAISON: </a:t>
            </a:r>
            <a:r>
              <a:rPr lang="en-US" sz="1400" dirty="0"/>
              <a:t>Chris Clemens and Andy Johns</a:t>
            </a:r>
            <a:br>
              <a:rPr lang="en-US" dirty="0"/>
            </a:br>
            <a:endParaRPr lang="en-US" dirty="0"/>
          </a:p>
        </p:txBody>
      </p:sp>
      <p:graphicFrame>
        <p:nvGraphicFramePr>
          <p:cNvPr id="10" name="Content Placeholder 9">
            <a:extLst>
              <a:ext uri="{FF2B5EF4-FFF2-40B4-BE49-F238E27FC236}">
                <a16:creationId xmlns:a16="http://schemas.microsoft.com/office/drawing/2014/main" id="{61AFDC7F-C07C-4F37-9AAA-C5F36195C622}"/>
              </a:ext>
            </a:extLst>
          </p:cNvPr>
          <p:cNvGraphicFramePr>
            <a:graphicFrameLocks noGrp="1"/>
          </p:cNvGraphicFramePr>
          <p:nvPr>
            <p:ph sz="quarter" idx="10"/>
          </p:nvPr>
        </p:nvGraphicFramePr>
        <p:xfrm>
          <a:off x="1828800" y="1295400"/>
          <a:ext cx="3227832" cy="4023360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3227832">
                  <a:extLst>
                    <a:ext uri="{9D8B030D-6E8A-4147-A177-3AD203B41FA5}">
                      <a16:colId xmlns:a16="http://schemas.microsoft.com/office/drawing/2014/main" val="2208118158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mbers: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8637754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my Wittmayer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6573324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na Wu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89813836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ttina </a:t>
                      </a:r>
                      <a:r>
                        <a:rPr lang="en-US" sz="20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huford</a:t>
                      </a:r>
                      <a:endParaRPr lang="en-US" sz="20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68264161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risty Samford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314135337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onathan Sauls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045245057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en Pittman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5466140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rk Johnson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34805198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eve Hemelt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74179371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rese Triumph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38782219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5206781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080025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ontent Placeholder 5">
            <a:extLst>
              <a:ext uri="{FF2B5EF4-FFF2-40B4-BE49-F238E27FC236}">
                <a16:creationId xmlns:a16="http://schemas.microsoft.com/office/drawing/2014/main" id="{D9CAC755-0A07-4F75-8F24-A5C54B1D1778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1855072" y="1379648"/>
          <a:ext cx="8485187" cy="47529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CA00786-2222-4273-8B06-15F5F9DE33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63E268E-DA18-874E-8CBA-6F80F366F288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A66A47E-6CAB-4234-8417-FF7DC3763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95797" y="467452"/>
            <a:ext cx="8039804" cy="666537"/>
          </a:xfrm>
        </p:spPr>
        <p:txBody>
          <a:bodyPr>
            <a:noAutofit/>
          </a:bodyPr>
          <a:lstStyle/>
          <a:p>
            <a:r>
              <a:rPr lang="en-US" sz="2600" dirty="0">
                <a:latin typeface="Garamond" panose="02020404030301010803" pitchFamily="18" charset="0"/>
              </a:rPr>
              <a:t>The Pursuit of Data Science at Carolina, 2012 to 2022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ABEA4FD0-7ED3-B013-510A-BB901363741A}"/>
              </a:ext>
            </a:extLst>
          </p:cNvPr>
          <p:cNvSpPr/>
          <p:nvPr/>
        </p:nvSpPr>
        <p:spPr>
          <a:xfrm>
            <a:off x="1524000" y="2822713"/>
            <a:ext cx="4572000" cy="177579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31188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5BDD3-137C-462E-82EE-A3429E4D4F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9" y="-22271"/>
            <a:ext cx="9711588" cy="895951"/>
          </a:xfrm>
        </p:spPr>
        <p:txBody>
          <a:bodyPr/>
          <a:lstStyle/>
          <a:p>
            <a:r>
              <a:rPr lang="en-US" sz="2400" dirty="0"/>
              <a:t>Data Science @ Carolina – Phase I (March 2019-Feb 2020).  80+ participants, Weekly meetings (steering committee), 7 subcommittees, all-Campus Kickoff 9/11/19, meetings with scores of campus groups, FC, leadership groups </a:t>
            </a: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2ECD54B3-7AB8-4772-96BF-CC854973E12B}"/>
              </a:ext>
            </a:extLst>
          </p:cNvPr>
          <p:cNvGraphicFramePr/>
          <p:nvPr/>
        </p:nvGraphicFramePr>
        <p:xfrm>
          <a:off x="120650" y="2141173"/>
          <a:ext cx="11965333" cy="41929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5714F61D-6C91-4FA9-8561-22413B01F0ED}"/>
              </a:ext>
            </a:extLst>
          </p:cNvPr>
          <p:cNvSpPr/>
          <p:nvPr/>
        </p:nvSpPr>
        <p:spPr>
          <a:xfrm>
            <a:off x="4515896" y="1192696"/>
            <a:ext cx="3395652" cy="948477"/>
          </a:xfrm>
          <a:prstGeom prst="rect">
            <a:avLst/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/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teering Committee</a:t>
            </a:r>
          </a:p>
          <a:p>
            <a:r>
              <a:rPr lang="en-US" dirty="0">
                <a:solidFill>
                  <a:schemeClr val="tx1"/>
                </a:solidFill>
              </a:rPr>
              <a:t>Co-Chair: Gary Marchionini </a:t>
            </a:r>
          </a:p>
          <a:p>
            <a:r>
              <a:rPr lang="en-US" dirty="0">
                <a:solidFill>
                  <a:schemeClr val="tx1"/>
                </a:solidFill>
              </a:rPr>
              <a:t>Co-Chair: Jay Aikat</a:t>
            </a:r>
          </a:p>
        </p:txBody>
      </p:sp>
    </p:spTree>
    <p:extLst>
      <p:ext uri="{BB962C8B-B14F-4D97-AF65-F5344CB8AC3E}">
        <p14:creationId xmlns:p14="http://schemas.microsoft.com/office/powerpoint/2010/main" val="17587260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C56828-D679-494D-82EC-D374B394B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9" y="372399"/>
            <a:ext cx="9711588" cy="307777"/>
          </a:xfrm>
        </p:spPr>
        <p:txBody>
          <a:bodyPr>
            <a:normAutofit fontScale="90000"/>
          </a:bodyPr>
          <a:lstStyle/>
          <a:p>
            <a:r>
              <a:rPr lang="en-US" dirty="0"/>
              <a:t>Undergraduate Curriculum Subcommittee</a:t>
            </a:r>
            <a:br>
              <a:rPr lang="en-US" dirty="0"/>
            </a:br>
            <a:r>
              <a:rPr lang="en-US" sz="1400" b="1" dirty="0"/>
              <a:t>CHAIR: </a:t>
            </a:r>
            <a:r>
              <a:rPr lang="en-US" sz="1400" dirty="0"/>
              <a:t>Rudi Colloredo-Mansfeld</a:t>
            </a:r>
            <a:br>
              <a:rPr lang="en-US" sz="1400" dirty="0"/>
            </a:br>
            <a:r>
              <a:rPr lang="en-US" sz="1400" b="1" dirty="0"/>
              <a:t>STEERING COMMITTEE LIAISON: </a:t>
            </a:r>
            <a:r>
              <a:rPr lang="en-US" sz="1400" dirty="0"/>
              <a:t>Dan Anderson</a:t>
            </a:r>
            <a:br>
              <a:rPr lang="en-US" dirty="0"/>
            </a:br>
            <a:endParaRPr lang="en-US" dirty="0"/>
          </a:p>
        </p:txBody>
      </p:sp>
      <p:graphicFrame>
        <p:nvGraphicFramePr>
          <p:cNvPr id="10" name="Content Placeholder 9">
            <a:extLst>
              <a:ext uri="{FF2B5EF4-FFF2-40B4-BE49-F238E27FC236}">
                <a16:creationId xmlns:a16="http://schemas.microsoft.com/office/drawing/2014/main" id="{61AFDC7F-C07C-4F37-9AAA-C5F36195C622}"/>
              </a:ext>
            </a:extLst>
          </p:cNvPr>
          <p:cNvGraphicFramePr>
            <a:graphicFrameLocks noGrp="1"/>
          </p:cNvGraphicFramePr>
          <p:nvPr>
            <p:ph sz="quarter" idx="10"/>
          </p:nvPr>
        </p:nvGraphicFramePr>
        <p:xfrm>
          <a:off x="1764792" y="1295400"/>
          <a:ext cx="3068229" cy="4267200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3068229">
                  <a:extLst>
                    <a:ext uri="{9D8B030D-6E8A-4147-A177-3AD203B41FA5}">
                      <a16:colId xmlns:a16="http://schemas.microsoft.com/office/drawing/2014/main" val="2208118158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Members:</a:t>
                      </a:r>
                    </a:p>
                    <a:p>
                      <a:pPr marL="457200" marR="0" lvl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Amanda Henley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3790" marR="53790" marT="0" marB="0"/>
                </a:tc>
                <a:extLst>
                  <a:ext uri="{0D108BD9-81ED-4DB2-BD59-A6C34878D82A}">
                    <a16:rowId xmlns:a16="http://schemas.microsoft.com/office/drawing/2014/main" val="8637754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Dan Bauer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3790" marR="53790" marT="0" marB="0"/>
                </a:tc>
                <a:extLst>
                  <a:ext uri="{0D108BD9-81ED-4DB2-BD59-A6C34878D82A}">
                    <a16:rowId xmlns:a16="http://schemas.microsoft.com/office/drawing/2014/main" val="26573324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err="1">
                          <a:effectLst/>
                        </a:rPr>
                        <a:t>Deen</a:t>
                      </a:r>
                      <a:r>
                        <a:rPr lang="en-US" sz="2000" dirty="0">
                          <a:effectLst/>
                        </a:rPr>
                        <a:t> </a:t>
                      </a:r>
                      <a:r>
                        <a:rPr lang="en-US" sz="2000" dirty="0" err="1">
                          <a:effectLst/>
                        </a:rPr>
                        <a:t>Freelon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3790" marR="53790" marT="0" marB="0"/>
                </a:tc>
                <a:extLst>
                  <a:ext uri="{0D108BD9-81ED-4DB2-BD59-A6C34878D82A}">
                    <a16:rowId xmlns:a16="http://schemas.microsoft.com/office/drawing/2014/main" val="189813836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Gabriela Valdivia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3790" marR="53790" marT="0" marB="0"/>
                </a:tc>
                <a:extLst>
                  <a:ext uri="{0D108BD9-81ED-4DB2-BD59-A6C34878D82A}">
                    <a16:rowId xmlns:a16="http://schemas.microsoft.com/office/drawing/2014/main" val="168264161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Misha Becker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3790" marR="53790" marT="0" marB="0"/>
                </a:tc>
                <a:extLst>
                  <a:ext uri="{0D108BD9-81ED-4DB2-BD59-A6C34878D82A}">
                    <a16:rowId xmlns:a16="http://schemas.microsoft.com/office/drawing/2014/main" val="2314135337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Rebecca Kitzmiller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3790" marR="53790" marT="0" marB="0"/>
                </a:tc>
                <a:extLst>
                  <a:ext uri="{0D108BD9-81ED-4DB2-BD59-A6C34878D82A}">
                    <a16:rowId xmlns:a16="http://schemas.microsoft.com/office/drawing/2014/main" val="3045245057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Rich McLaughlin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3790" marR="53790" marT="0" marB="0"/>
                </a:tc>
                <a:extLst>
                  <a:ext uri="{0D108BD9-81ED-4DB2-BD59-A6C34878D82A}">
                    <a16:rowId xmlns:a16="http://schemas.microsoft.com/office/drawing/2014/main" val="395466140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Suzanne Cadwell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3790" marR="53790" marT="0" marB="0"/>
                </a:tc>
                <a:extLst>
                  <a:ext uri="{0D108BD9-81ED-4DB2-BD59-A6C34878D82A}">
                    <a16:rowId xmlns:a16="http://schemas.microsoft.com/office/drawing/2014/main" val="134805198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err="1">
                          <a:effectLst/>
                        </a:rPr>
                        <a:t>Uffe</a:t>
                      </a:r>
                      <a:r>
                        <a:rPr lang="en-US" sz="2000" dirty="0">
                          <a:effectLst/>
                        </a:rPr>
                        <a:t> </a:t>
                      </a:r>
                      <a:r>
                        <a:rPr lang="en-US" sz="2000" dirty="0" err="1">
                          <a:effectLst/>
                        </a:rPr>
                        <a:t>Bergeton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3790" marR="53790" marT="0" marB="0"/>
                </a:tc>
                <a:extLst>
                  <a:ext uri="{0D108BD9-81ED-4DB2-BD59-A6C34878D82A}">
                    <a16:rowId xmlns:a16="http://schemas.microsoft.com/office/drawing/2014/main" val="181999359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err="1">
                          <a:effectLst/>
                        </a:rPr>
                        <a:t>Vladas</a:t>
                      </a:r>
                      <a:r>
                        <a:rPr lang="en-US" sz="2000" dirty="0">
                          <a:effectLst/>
                        </a:rPr>
                        <a:t> </a:t>
                      </a:r>
                      <a:r>
                        <a:rPr lang="en-US" sz="2000" dirty="0" err="1">
                          <a:effectLst/>
                        </a:rPr>
                        <a:t>Pipiras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3790" marR="53790" marT="0" marB="0"/>
                </a:tc>
                <a:extLst>
                  <a:ext uri="{0D108BD9-81ED-4DB2-BD59-A6C34878D82A}">
                    <a16:rowId xmlns:a16="http://schemas.microsoft.com/office/drawing/2014/main" val="2335074839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Wendell </a:t>
                      </a:r>
                      <a:r>
                        <a:rPr lang="en-US" sz="2000" dirty="0" err="1">
                          <a:effectLst/>
                        </a:rPr>
                        <a:t>Gilland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3790" marR="53790" marT="0" marB="0"/>
                </a:tc>
                <a:extLst>
                  <a:ext uri="{0D108BD9-81ED-4DB2-BD59-A6C34878D82A}">
                    <a16:rowId xmlns:a16="http://schemas.microsoft.com/office/drawing/2014/main" val="7417937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116377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C56828-D679-494D-82EC-D374B394B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9" y="3068"/>
            <a:ext cx="9711588" cy="1046440"/>
          </a:xfrm>
        </p:spPr>
        <p:txBody>
          <a:bodyPr>
            <a:normAutofit fontScale="90000"/>
          </a:bodyPr>
          <a:lstStyle/>
          <a:p>
            <a:r>
              <a:rPr lang="en-US" dirty="0"/>
              <a:t>Graduate Curriculum Subcommittee</a:t>
            </a:r>
            <a:br>
              <a:rPr lang="en-US" dirty="0"/>
            </a:br>
            <a:r>
              <a:rPr lang="en-US" sz="1400" b="1" dirty="0"/>
              <a:t>CHAIR: </a:t>
            </a:r>
            <a:r>
              <a:rPr lang="en-US" sz="1400" dirty="0"/>
              <a:t>Tim </a:t>
            </a:r>
            <a:r>
              <a:rPr lang="en-US" sz="1400" dirty="0" err="1"/>
              <a:t>Elston</a:t>
            </a:r>
            <a:br>
              <a:rPr lang="en-US" sz="1400" dirty="0"/>
            </a:br>
            <a:r>
              <a:rPr lang="en-US" sz="1400" b="1" dirty="0"/>
              <a:t>STEERING COMMITTEE LIAISON: </a:t>
            </a:r>
            <a:r>
              <a:rPr lang="en-US" sz="1400" dirty="0"/>
              <a:t>Suzanne Barbour</a:t>
            </a:r>
            <a:br>
              <a:rPr lang="en-US" dirty="0"/>
            </a:br>
            <a:endParaRPr lang="en-US" dirty="0"/>
          </a:p>
        </p:txBody>
      </p:sp>
      <p:graphicFrame>
        <p:nvGraphicFramePr>
          <p:cNvPr id="10" name="Content Placeholder 9">
            <a:extLst>
              <a:ext uri="{FF2B5EF4-FFF2-40B4-BE49-F238E27FC236}">
                <a16:creationId xmlns:a16="http://schemas.microsoft.com/office/drawing/2014/main" id="{61AFDC7F-C07C-4F37-9AAA-C5F36195C622}"/>
              </a:ext>
            </a:extLst>
          </p:cNvPr>
          <p:cNvGraphicFramePr>
            <a:graphicFrameLocks noGrp="1"/>
          </p:cNvGraphicFramePr>
          <p:nvPr>
            <p:ph sz="quarter" idx="10"/>
          </p:nvPr>
        </p:nvGraphicFramePr>
        <p:xfrm>
          <a:off x="1764792" y="1295400"/>
          <a:ext cx="3068229" cy="4267200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3068229">
                  <a:extLst>
                    <a:ext uri="{9D8B030D-6E8A-4147-A177-3AD203B41FA5}">
                      <a16:colId xmlns:a16="http://schemas.microsoft.com/office/drawing/2014/main" val="2208118158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mbers:</a:t>
                      </a:r>
                    </a:p>
                    <a:p>
                      <a:pPr marL="457200" marR="0" lvl="1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ib Phillips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8637754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asleen</a:t>
                      </a:r>
                      <a:r>
                        <a:rPr lang="en-US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Kaur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6573324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aved</a:t>
                      </a:r>
                      <a:r>
                        <a:rPr lang="en-US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Mostafa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89813836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eff Greene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68264161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ohn McGee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314135337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sa </a:t>
                      </a:r>
                      <a:r>
                        <a:rPr lang="en-US" sz="20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aVange</a:t>
                      </a:r>
                      <a:endParaRPr lang="en-US" sz="20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045245057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ry-Rose </a:t>
                      </a:r>
                      <a:r>
                        <a:rPr lang="en-US" sz="20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pandrea</a:t>
                      </a:r>
                      <a:endParaRPr lang="en-US" sz="20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95466140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if</a:t>
                      </a:r>
                      <a:r>
                        <a:rPr lang="en-US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0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hairat</a:t>
                      </a:r>
                      <a:endParaRPr lang="en-US" sz="20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34805198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hankar </a:t>
                      </a:r>
                      <a:r>
                        <a:rPr lang="en-US" sz="20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hamindi</a:t>
                      </a:r>
                      <a:endParaRPr lang="en-US" sz="20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81999359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ephanie Schmitt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335074839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7417937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482249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C56828-D679-494D-82EC-D374B394B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9" y="3068"/>
            <a:ext cx="9711588" cy="1046440"/>
          </a:xfrm>
        </p:spPr>
        <p:txBody>
          <a:bodyPr>
            <a:normAutofit fontScale="90000"/>
          </a:bodyPr>
          <a:lstStyle/>
          <a:p>
            <a:r>
              <a:rPr lang="en-US" dirty="0"/>
              <a:t>Research Subcommittee</a:t>
            </a:r>
            <a:br>
              <a:rPr lang="en-US" dirty="0"/>
            </a:br>
            <a:r>
              <a:rPr lang="en-US" sz="1400" b="1" dirty="0"/>
              <a:t>CHAIR: </a:t>
            </a:r>
            <a:r>
              <a:rPr lang="en-US" sz="1400" dirty="0"/>
              <a:t>Michael </a:t>
            </a:r>
            <a:r>
              <a:rPr lang="en-US" sz="1400" dirty="0" err="1"/>
              <a:t>Kosorok</a:t>
            </a:r>
            <a:br>
              <a:rPr lang="en-US" sz="1400" dirty="0"/>
            </a:br>
            <a:r>
              <a:rPr lang="en-US" sz="1400" b="1" dirty="0"/>
              <a:t>STEERING COMMITTEE LIAISON: </a:t>
            </a:r>
            <a:r>
              <a:rPr lang="en-US" sz="1400" dirty="0"/>
              <a:t>Todd BenDor and Alex </a:t>
            </a:r>
            <a:r>
              <a:rPr lang="en-US" sz="1400" dirty="0" err="1"/>
              <a:t>Tropsha</a:t>
            </a:r>
            <a:br>
              <a:rPr lang="en-US" dirty="0"/>
            </a:br>
            <a:endParaRPr lang="en-US" dirty="0"/>
          </a:p>
        </p:txBody>
      </p:sp>
      <p:graphicFrame>
        <p:nvGraphicFramePr>
          <p:cNvPr id="10" name="Content Placeholder 9">
            <a:extLst>
              <a:ext uri="{FF2B5EF4-FFF2-40B4-BE49-F238E27FC236}">
                <a16:creationId xmlns:a16="http://schemas.microsoft.com/office/drawing/2014/main" id="{61AFDC7F-C07C-4F37-9AAA-C5F36195C622}"/>
              </a:ext>
            </a:extLst>
          </p:cNvPr>
          <p:cNvGraphicFramePr>
            <a:graphicFrameLocks noGrp="1"/>
          </p:cNvGraphicFramePr>
          <p:nvPr>
            <p:ph sz="quarter" idx="10"/>
          </p:nvPr>
        </p:nvGraphicFramePr>
        <p:xfrm>
          <a:off x="1828800" y="1295400"/>
          <a:ext cx="3227832" cy="4833939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3227832">
                  <a:extLst>
                    <a:ext uri="{9D8B030D-6E8A-4147-A177-3AD203B41FA5}">
                      <a16:colId xmlns:a16="http://schemas.microsoft.com/office/drawing/2014/main" val="2208118158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mbers:</a:t>
                      </a:r>
                    </a:p>
                    <a:p>
                      <a:pPr marL="457200" marR="0" lv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rbara </a:t>
                      </a:r>
                      <a:r>
                        <a:rPr lang="en-US" sz="20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ntwisle</a:t>
                      </a:r>
                      <a:endParaRPr lang="en-US" sz="20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8637754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vid </a:t>
                      </a:r>
                      <a:r>
                        <a:rPr lang="en-US" sz="20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otz</a:t>
                      </a:r>
                      <a:endParaRPr lang="en-US" sz="20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6573324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izabeth Frankenberg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89813836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reg </a:t>
                      </a:r>
                      <a:r>
                        <a:rPr lang="en-US" sz="20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aracklis</a:t>
                      </a:r>
                      <a:endParaRPr lang="en-US" sz="20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68264161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reg Forest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314135337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eff Roach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045245057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xin</a:t>
                      </a:r>
                      <a:r>
                        <a:rPr lang="en-US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ong</a:t>
                      </a:r>
                    </a:p>
                    <a:p>
                      <a:pPr marL="457200" marR="0" lv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nny Gordon-Larsen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95466140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n Ahalt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34805198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eve Marron</a:t>
                      </a:r>
                      <a:endParaRPr lang="en-US" sz="20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81999359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im Carey</a:t>
                      </a:r>
                    </a:p>
                    <a:p>
                      <a:pPr marL="457200" marR="0" lv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evy McDonald</a:t>
                      </a:r>
                      <a:endParaRPr lang="en-US" sz="20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335074839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7417937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29813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C56828-D679-494D-82EC-D374B394B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9" y="3068"/>
            <a:ext cx="9711588" cy="1046440"/>
          </a:xfrm>
        </p:spPr>
        <p:txBody>
          <a:bodyPr>
            <a:normAutofit fontScale="90000"/>
          </a:bodyPr>
          <a:lstStyle/>
          <a:p>
            <a:r>
              <a:rPr lang="en-US" dirty="0"/>
              <a:t>Community Impact and Civic Engagement Subcommittee</a:t>
            </a:r>
            <a:br>
              <a:rPr lang="en-US" dirty="0"/>
            </a:br>
            <a:r>
              <a:rPr lang="en-US" sz="1400" b="1" dirty="0"/>
              <a:t>CHAIR: </a:t>
            </a:r>
            <a:r>
              <a:rPr lang="en-US" sz="1400" dirty="0"/>
              <a:t>Ryan Thornburg</a:t>
            </a:r>
            <a:br>
              <a:rPr lang="en-US" sz="1400" dirty="0"/>
            </a:br>
            <a:r>
              <a:rPr lang="en-US" sz="1400" b="1" dirty="0"/>
              <a:t>STEERING COMMITTEE LIAISON: </a:t>
            </a:r>
            <a:r>
              <a:rPr lang="en-US" sz="1400" dirty="0"/>
              <a:t>Joel Curran</a:t>
            </a:r>
            <a:br>
              <a:rPr lang="en-US" dirty="0"/>
            </a:br>
            <a:endParaRPr lang="en-US" dirty="0"/>
          </a:p>
        </p:txBody>
      </p:sp>
      <p:graphicFrame>
        <p:nvGraphicFramePr>
          <p:cNvPr id="10" name="Content Placeholder 9">
            <a:extLst>
              <a:ext uri="{FF2B5EF4-FFF2-40B4-BE49-F238E27FC236}">
                <a16:creationId xmlns:a16="http://schemas.microsoft.com/office/drawing/2014/main" id="{61AFDC7F-C07C-4F37-9AAA-C5F36195C622}"/>
              </a:ext>
            </a:extLst>
          </p:cNvPr>
          <p:cNvGraphicFramePr>
            <a:graphicFrameLocks noGrp="1"/>
          </p:cNvGraphicFramePr>
          <p:nvPr>
            <p:ph sz="quarter" idx="10"/>
          </p:nvPr>
        </p:nvGraphicFramePr>
        <p:xfrm>
          <a:off x="1828800" y="1295400"/>
          <a:ext cx="3227832" cy="3291840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3227832">
                  <a:extLst>
                    <a:ext uri="{9D8B030D-6E8A-4147-A177-3AD203B41FA5}">
                      <a16:colId xmlns:a16="http://schemas.microsoft.com/office/drawing/2014/main" val="2208118158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mbers: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8637754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ary Slade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6573324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ina Chowa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89813836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iselle Corbie-Smith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68264161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aki Bonilla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314135337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becca </a:t>
                      </a:r>
                      <a:r>
                        <a:rPr lang="en-US" sz="20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ippett</a:t>
                      </a:r>
                      <a:endParaRPr lang="en-US" sz="20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045245057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byn Schroeder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5466140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ger Nelsen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34805198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7417937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192524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C56828-D679-494D-82EC-D374B394B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9" y="3068"/>
            <a:ext cx="9711588" cy="1046440"/>
          </a:xfrm>
        </p:spPr>
        <p:txBody>
          <a:bodyPr>
            <a:normAutofit fontScale="90000"/>
          </a:bodyPr>
          <a:lstStyle/>
          <a:p>
            <a:r>
              <a:rPr lang="en-US" dirty="0"/>
              <a:t>Physical Infrastructure Subcommittee</a:t>
            </a:r>
            <a:br>
              <a:rPr lang="en-US" dirty="0"/>
            </a:br>
            <a:r>
              <a:rPr lang="en-US" sz="1400" b="1" dirty="0"/>
              <a:t>CHAIR: </a:t>
            </a:r>
            <a:r>
              <a:rPr lang="en-US" sz="1400" dirty="0"/>
              <a:t>Scott Savage</a:t>
            </a:r>
            <a:br>
              <a:rPr lang="en-US" sz="1400" dirty="0"/>
            </a:br>
            <a:r>
              <a:rPr lang="en-US" sz="1400" b="1" dirty="0"/>
              <a:t>STEERING COMMITTEE LIAISON: </a:t>
            </a:r>
            <a:r>
              <a:rPr lang="en-US" sz="1400" dirty="0"/>
              <a:t>Elaine Westbrooks</a:t>
            </a:r>
            <a:br>
              <a:rPr lang="en-US" dirty="0"/>
            </a:br>
            <a:endParaRPr lang="en-US" dirty="0"/>
          </a:p>
        </p:txBody>
      </p:sp>
      <p:graphicFrame>
        <p:nvGraphicFramePr>
          <p:cNvPr id="10" name="Content Placeholder 9">
            <a:extLst>
              <a:ext uri="{FF2B5EF4-FFF2-40B4-BE49-F238E27FC236}">
                <a16:creationId xmlns:a16="http://schemas.microsoft.com/office/drawing/2014/main" id="{61AFDC7F-C07C-4F37-9AAA-C5F36195C622}"/>
              </a:ext>
            </a:extLst>
          </p:cNvPr>
          <p:cNvGraphicFramePr>
            <a:graphicFrameLocks noGrp="1"/>
          </p:cNvGraphicFramePr>
          <p:nvPr>
            <p:ph sz="quarter" idx="10"/>
          </p:nvPr>
        </p:nvGraphicFramePr>
        <p:xfrm>
          <a:off x="1828800" y="1295400"/>
          <a:ext cx="3227832" cy="4754880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3227832">
                  <a:extLst>
                    <a:ext uri="{9D8B030D-6E8A-4147-A177-3AD203B41FA5}">
                      <a16:colId xmlns:a16="http://schemas.microsoft.com/office/drawing/2014/main" val="2208118158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mbers: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8637754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aron Brubaker 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6573324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dy Lang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89813836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hok Krishnamurthy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68264161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ob Henshaw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314135337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van </a:t>
                      </a:r>
                      <a:r>
                        <a:rPr lang="en-US" sz="20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assky</a:t>
                      </a:r>
                      <a:endParaRPr lang="en-US" sz="20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045245057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athy Anderson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95466140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chel Serrano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34805198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m </a:t>
                      </a:r>
                      <a:r>
                        <a:rPr lang="en-US" sz="20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ykert</a:t>
                      </a:r>
                      <a:endParaRPr lang="en-US" sz="20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74179371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duak Ndoh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38782219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ji Sathy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877284017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ayne Pittman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0323302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5206781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48369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C56828-D679-494D-82EC-D374B394B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9" y="3068"/>
            <a:ext cx="9711588" cy="1046440"/>
          </a:xfrm>
        </p:spPr>
        <p:txBody>
          <a:bodyPr>
            <a:normAutofit fontScale="90000"/>
          </a:bodyPr>
          <a:lstStyle/>
          <a:p>
            <a:r>
              <a:rPr lang="en-US" dirty="0"/>
              <a:t>Finance and Funding Subcommittee</a:t>
            </a:r>
            <a:br>
              <a:rPr lang="en-US" dirty="0"/>
            </a:br>
            <a:r>
              <a:rPr lang="en-US" sz="1400" b="1" dirty="0"/>
              <a:t>CHAIR: </a:t>
            </a:r>
            <a:r>
              <a:rPr lang="en-US" sz="1400" dirty="0"/>
              <a:t>Jana </a:t>
            </a:r>
            <a:r>
              <a:rPr lang="en-US" sz="1400" dirty="0" err="1"/>
              <a:t>Raedy</a:t>
            </a:r>
            <a:br>
              <a:rPr lang="en-US" sz="1400" dirty="0"/>
            </a:br>
            <a:r>
              <a:rPr lang="en-US" sz="1400" b="1" dirty="0"/>
              <a:t>STEERING COMMITTEE LIAISON: </a:t>
            </a:r>
            <a:r>
              <a:rPr lang="en-US" sz="1400" dirty="0"/>
              <a:t>Nate Knuffman</a:t>
            </a:r>
            <a:br>
              <a:rPr lang="en-US" dirty="0"/>
            </a:br>
            <a:endParaRPr lang="en-US" dirty="0"/>
          </a:p>
        </p:txBody>
      </p:sp>
      <p:graphicFrame>
        <p:nvGraphicFramePr>
          <p:cNvPr id="10" name="Content Placeholder 9">
            <a:extLst>
              <a:ext uri="{FF2B5EF4-FFF2-40B4-BE49-F238E27FC236}">
                <a16:creationId xmlns:a16="http://schemas.microsoft.com/office/drawing/2014/main" id="{61AFDC7F-C07C-4F37-9AAA-C5F36195C622}"/>
              </a:ext>
            </a:extLst>
          </p:cNvPr>
          <p:cNvGraphicFramePr>
            <a:graphicFrameLocks noGrp="1"/>
          </p:cNvGraphicFramePr>
          <p:nvPr>
            <p:ph sz="quarter" idx="10"/>
          </p:nvPr>
        </p:nvGraphicFramePr>
        <p:xfrm>
          <a:off x="1828800" y="1295400"/>
          <a:ext cx="3227832" cy="4754880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3227832">
                  <a:extLst>
                    <a:ext uri="{9D8B030D-6E8A-4147-A177-3AD203B41FA5}">
                      <a16:colId xmlns:a16="http://schemas.microsoft.com/office/drawing/2014/main" val="2208118158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mbers: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8637754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dra Slavin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6573324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ly Perin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89813836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oe Williams 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68264161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ate Henz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314135337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atie Thornsvard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045245057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trick Conway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95466140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chel Feldman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34805198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ick Wernoski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74179371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ammy Cox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38782219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endy Andrews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877284017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457200" marR="0" lvl="1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hitney Afonso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0323302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5206781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127811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I8ikCbRM6swtQIOQoYdg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ntegral">
  <a:themeElements>
    <a:clrScheme name="Integral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B9F25"/>
      </a:hlink>
      <a:folHlink>
        <a:srgbClr val="B26B02"/>
      </a:folHlink>
    </a:clrScheme>
    <a:fontScheme name="Integral">
      <a:majorFont>
        <a:latin typeface="Tw Cen MT Condensed" panose="020B06060201040202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Integral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atMod val="100000"/>
                <a:lumMod val="100000"/>
              </a:schemeClr>
            </a:gs>
            <a:gs pos="100000">
              <a:schemeClr val="phClr">
                <a:tint val="61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tint val="100000"/>
                <a:shade val="85000"/>
                <a:satMod val="100000"/>
                <a:lumMod val="100000"/>
              </a:schemeClr>
            </a:gs>
            <a:gs pos="100000">
              <a:schemeClr val="phClr">
                <a:tint val="90000"/>
                <a:shade val="100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12700" dir="5400000" algn="ctr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76200" dist="25400" dir="5400000" algn="ct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contourW="12700" prstMaterial="flat">
            <a:bevelT w="38100" h="44450" prst="angle"/>
            <a:contourClr>
              <a:schemeClr val="phClr">
                <a:shade val="35000"/>
                <a:satMod val="16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hade val="85000"/>
            <a:satMod val="125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95000"/>
                <a:shade val="74000"/>
                <a:satMod val="230000"/>
              </a:schemeClr>
              <a:schemeClr val="phClr">
                <a:tint val="92000"/>
                <a:shade val="69000"/>
                <a:satMod val="250000"/>
              </a:schemeClr>
            </a:duotone>
          </a:blip>
          <a:tile tx="0" ty="0" sx="40000" sy="4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ntegral" id="{3577F8C9-A904-41D8-97D2-FD898F53F20E}" vid="{682D6EBE-8D36-4FF2-9DB3-F3D8D7B6715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ntegral</Template>
  <TotalTime>13</TotalTime>
  <Words>1121</Words>
  <Application>Microsoft Office PowerPoint</Application>
  <PresentationFormat>Widescreen</PresentationFormat>
  <Paragraphs>173</Paragraphs>
  <Slides>1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0" baseType="lpstr">
      <vt:lpstr>Arial</vt:lpstr>
      <vt:lpstr>Calibri</vt:lpstr>
      <vt:lpstr>Calibri-Bold</vt:lpstr>
      <vt:lpstr>Garamond</vt:lpstr>
      <vt:lpstr>Tw Cen MT</vt:lpstr>
      <vt:lpstr>Tw Cen MT Condensed</vt:lpstr>
      <vt:lpstr>Wingdings 3</vt:lpstr>
      <vt:lpstr>Wingdings,Sans-Serif</vt:lpstr>
      <vt:lpstr>Integral</vt:lpstr>
      <vt:lpstr>think-cell Slide</vt:lpstr>
      <vt:lpstr>Data Science at Carolina</vt:lpstr>
      <vt:lpstr>The Pursuit of Data Science at Carolina, 2012 to 2022</vt:lpstr>
      <vt:lpstr>Data Science @ Carolina – Phase I (March 2019-Feb 2020).  80+ participants, Weekly meetings (steering committee), 7 subcommittees, all-Campus Kickoff 9/11/19, meetings with scores of campus groups, FC, leadership groups </vt:lpstr>
      <vt:lpstr>Undergraduate Curriculum Subcommittee CHAIR: Rudi Colloredo-Mansfeld STEERING COMMITTEE LIAISON: Dan Anderson </vt:lpstr>
      <vt:lpstr>Graduate Curriculum Subcommittee CHAIR: Tim Elston STEERING COMMITTEE LIAISON: Suzanne Barbour </vt:lpstr>
      <vt:lpstr>Research Subcommittee CHAIR: Michael Kosorok STEERING COMMITTEE LIAISON: Todd BenDor and Alex Tropsha </vt:lpstr>
      <vt:lpstr>Community Impact and Civic Engagement Subcommittee CHAIR: Ryan Thornburg STEERING COMMITTEE LIAISON: Joel Curran </vt:lpstr>
      <vt:lpstr>Physical Infrastructure Subcommittee CHAIR: Scott Savage STEERING COMMITTEE LIAISON: Elaine Westbrooks </vt:lpstr>
      <vt:lpstr>Finance and Funding Subcommittee CHAIR: Jana Raedy STEERING COMMITTEE LIAISON: Nate Knuffman </vt:lpstr>
      <vt:lpstr>Student Services and Staff Subcommittee CHAIR: Steve Farmer STEERING COMMITTEE LIAISON: Chris Clemens and Andy Johns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a Science at Carolina</dc:title>
  <dc:creator>Marchionini, Gary</dc:creator>
  <cp:lastModifiedBy>Marchionini, Gary</cp:lastModifiedBy>
  <cp:revision>1</cp:revision>
  <dcterms:created xsi:type="dcterms:W3CDTF">2023-02-16T19:52:53Z</dcterms:created>
  <dcterms:modified xsi:type="dcterms:W3CDTF">2023-02-16T20:06:19Z</dcterms:modified>
</cp:coreProperties>
</file>